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1" r:id="rId4"/>
    <p:sldMasterId id="2147483660" r:id="rId5"/>
    <p:sldMasterId id="2147483773" r:id="rId6"/>
  </p:sldMasterIdLst>
  <p:notesMasterIdLst>
    <p:notesMasterId r:id="rId50"/>
  </p:notesMasterIdLst>
  <p:sldIdLst>
    <p:sldId id="318" r:id="rId7"/>
    <p:sldId id="366" r:id="rId8"/>
    <p:sldId id="319" r:id="rId9"/>
    <p:sldId id="321" r:id="rId10"/>
    <p:sldId id="320" r:id="rId11"/>
    <p:sldId id="326" r:id="rId12"/>
    <p:sldId id="324" r:id="rId13"/>
    <p:sldId id="329" r:id="rId14"/>
    <p:sldId id="332" r:id="rId15"/>
    <p:sldId id="327" r:id="rId16"/>
    <p:sldId id="360" r:id="rId17"/>
    <p:sldId id="330" r:id="rId18"/>
    <p:sldId id="353" r:id="rId19"/>
    <p:sldId id="354" r:id="rId20"/>
    <p:sldId id="333" r:id="rId21"/>
    <p:sldId id="335" r:id="rId22"/>
    <p:sldId id="328" r:id="rId23"/>
    <p:sldId id="337" r:id="rId24"/>
    <p:sldId id="336" r:id="rId25"/>
    <p:sldId id="266" r:id="rId26"/>
    <p:sldId id="338" r:id="rId27"/>
    <p:sldId id="339" r:id="rId28"/>
    <p:sldId id="331" r:id="rId29"/>
    <p:sldId id="340" r:id="rId30"/>
    <p:sldId id="334" r:id="rId31"/>
    <p:sldId id="341" r:id="rId32"/>
    <p:sldId id="343" r:id="rId33"/>
    <p:sldId id="361" r:id="rId34"/>
    <p:sldId id="362" r:id="rId35"/>
    <p:sldId id="365" r:id="rId36"/>
    <p:sldId id="256" r:id="rId37"/>
    <p:sldId id="257" r:id="rId38"/>
    <p:sldId id="344" r:id="rId39"/>
    <p:sldId id="342" r:id="rId40"/>
    <p:sldId id="363" r:id="rId41"/>
    <p:sldId id="269" r:id="rId42"/>
    <p:sldId id="347" r:id="rId43"/>
    <p:sldId id="348" r:id="rId44"/>
    <p:sldId id="349" r:id="rId45"/>
    <p:sldId id="346" r:id="rId46"/>
    <p:sldId id="364" r:id="rId47"/>
    <p:sldId id="259" r:id="rId48"/>
    <p:sldId id="351" r:id="rId49"/>
  </p:sldIdLst>
  <p:sldSz cx="9144000" cy="6858000" type="screen4x3"/>
  <p:notesSz cx="6858000" cy="9144000"/>
  <p:custDataLst>
    <p:tags r:id="rId5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F133C"/>
    <a:srgbClr val="000000"/>
    <a:srgbClr val="C14628"/>
    <a:srgbClr val="BB5D00"/>
    <a:srgbClr val="842A17"/>
    <a:srgbClr val="722514"/>
    <a:srgbClr val="4A1B0C"/>
    <a:srgbClr val="832916"/>
    <a:srgbClr val="7A2715"/>
    <a:srgbClr val="447C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118432E-CBFE-B1A0-2927-FDE54313F23B}" v="31" dt="2024-08-15T22:06:03.31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177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microsoft.com/office/2016/11/relationships/changesInfo" Target="changesInfos/changesInfo1.xml"/><Relationship Id="rId8" Type="http://schemas.openxmlformats.org/officeDocument/2006/relationships/slide" Target="slides/slide2.xml"/><Relationship Id="rId51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microsoft.com/office/2015/10/relationships/revisionInfo" Target="revisionInfo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alker, Robin" userId="897cf8a4-3646-45ad-9204-9a6d13f45529" providerId="ADAL" clId="{CE1D1C5F-2987-4101-8B92-5FEDB9F4D35C}"/>
    <pc:docChg chg="modSld">
      <pc:chgData name="Walker, Robin" userId="897cf8a4-3646-45ad-9204-9a6d13f45529" providerId="ADAL" clId="{CE1D1C5F-2987-4101-8B92-5FEDB9F4D35C}" dt="2024-01-12T20:55:24.685" v="6" actId="1076"/>
      <pc:docMkLst>
        <pc:docMk/>
      </pc:docMkLst>
      <pc:sldChg chg="modSp mod">
        <pc:chgData name="Walker, Robin" userId="897cf8a4-3646-45ad-9204-9a6d13f45529" providerId="ADAL" clId="{CE1D1C5F-2987-4101-8B92-5FEDB9F4D35C}" dt="2024-01-12T20:55:24.685" v="6" actId="1076"/>
        <pc:sldMkLst>
          <pc:docMk/>
          <pc:sldMk cId="4118586891" sldId="256"/>
        </pc:sldMkLst>
        <pc:spChg chg="mod">
          <ac:chgData name="Walker, Robin" userId="897cf8a4-3646-45ad-9204-9a6d13f45529" providerId="ADAL" clId="{CE1D1C5F-2987-4101-8B92-5FEDB9F4D35C}" dt="2024-01-12T20:53:48.496" v="4" actId="1076"/>
          <ac:spMkLst>
            <pc:docMk/>
            <pc:sldMk cId="4118586891" sldId="256"/>
            <ac:spMk id="2" creationId="{46A9399A-B992-8334-276D-35C60E5E8622}"/>
          </ac:spMkLst>
        </pc:spChg>
        <pc:spChg chg="mod">
          <ac:chgData name="Walker, Robin" userId="897cf8a4-3646-45ad-9204-9a6d13f45529" providerId="ADAL" clId="{CE1D1C5F-2987-4101-8B92-5FEDB9F4D35C}" dt="2024-01-12T20:53:18.316" v="1" actId="14100"/>
          <ac:spMkLst>
            <pc:docMk/>
            <pc:sldMk cId="4118586891" sldId="256"/>
            <ac:spMk id="6" creationId="{1F0EA826-B010-C769-F75F-DB8B9271B7F2}"/>
          </ac:spMkLst>
        </pc:spChg>
        <pc:spChg chg="mod">
          <ac:chgData name="Walker, Robin" userId="897cf8a4-3646-45ad-9204-9a6d13f45529" providerId="ADAL" clId="{CE1D1C5F-2987-4101-8B92-5FEDB9F4D35C}" dt="2024-01-12T20:52:46.373" v="0" actId="207"/>
          <ac:spMkLst>
            <pc:docMk/>
            <pc:sldMk cId="4118586891" sldId="256"/>
            <ac:spMk id="7" creationId="{D3300A1E-F507-FD54-6832-95E938A2333C}"/>
          </ac:spMkLst>
        </pc:spChg>
        <pc:picChg chg="mod">
          <ac:chgData name="Walker, Robin" userId="897cf8a4-3646-45ad-9204-9a6d13f45529" providerId="ADAL" clId="{CE1D1C5F-2987-4101-8B92-5FEDB9F4D35C}" dt="2024-01-12T20:55:24.685" v="6" actId="1076"/>
          <ac:picMkLst>
            <pc:docMk/>
            <pc:sldMk cId="4118586891" sldId="256"/>
            <ac:picMk id="9" creationId="{2A974590-69CC-0B1F-01F3-69C3DC2017C0}"/>
          </ac:picMkLst>
        </pc:picChg>
      </pc:sldChg>
    </pc:docChg>
  </pc:docChgLst>
  <pc:docChgLst>
    <pc:chgData name="West, Christopher" userId="1b29890f-c097-48f3-9913-77a2a551454b" providerId="ADAL" clId="{7214F864-5F49-4D46-BAB9-6A328AA9D60C}"/>
    <pc:docChg chg="custSel modSld">
      <pc:chgData name="West, Christopher" userId="1b29890f-c097-48f3-9913-77a2a551454b" providerId="ADAL" clId="{7214F864-5F49-4D46-BAB9-6A328AA9D60C}" dt="2024-01-12T16:01:39.660" v="53" actId="6549"/>
      <pc:docMkLst>
        <pc:docMk/>
      </pc:docMkLst>
      <pc:sldChg chg="modSp mod">
        <pc:chgData name="West, Christopher" userId="1b29890f-c097-48f3-9913-77a2a551454b" providerId="ADAL" clId="{7214F864-5F49-4D46-BAB9-6A328AA9D60C}" dt="2024-01-12T15:59:47.746" v="6" actId="20577"/>
        <pc:sldMkLst>
          <pc:docMk/>
          <pc:sldMk cId="307471866" sldId="328"/>
        </pc:sldMkLst>
        <pc:spChg chg="mod">
          <ac:chgData name="West, Christopher" userId="1b29890f-c097-48f3-9913-77a2a551454b" providerId="ADAL" clId="{7214F864-5F49-4D46-BAB9-6A328AA9D60C}" dt="2024-01-12T15:59:47.746" v="6" actId="20577"/>
          <ac:spMkLst>
            <pc:docMk/>
            <pc:sldMk cId="307471866" sldId="328"/>
            <ac:spMk id="3" creationId="{3485F4E9-86E7-473C-88D4-B224D829E5D4}"/>
          </ac:spMkLst>
        </pc:spChg>
      </pc:sldChg>
      <pc:sldChg chg="modSp mod">
        <pc:chgData name="West, Christopher" userId="1b29890f-c097-48f3-9913-77a2a551454b" providerId="ADAL" clId="{7214F864-5F49-4D46-BAB9-6A328AA9D60C}" dt="2024-01-12T15:59:04.274" v="1" actId="115"/>
        <pc:sldMkLst>
          <pc:docMk/>
          <pc:sldMk cId="3533046681" sldId="330"/>
        </pc:sldMkLst>
        <pc:spChg chg="mod">
          <ac:chgData name="West, Christopher" userId="1b29890f-c097-48f3-9913-77a2a551454b" providerId="ADAL" clId="{7214F864-5F49-4D46-BAB9-6A328AA9D60C}" dt="2024-01-12T15:59:04.274" v="1" actId="115"/>
          <ac:spMkLst>
            <pc:docMk/>
            <pc:sldMk cId="3533046681" sldId="330"/>
            <ac:spMk id="3" creationId="{3485F4E9-86E7-473C-88D4-B224D829E5D4}"/>
          </ac:spMkLst>
        </pc:spChg>
      </pc:sldChg>
      <pc:sldChg chg="modSp mod">
        <pc:chgData name="West, Christopher" userId="1b29890f-c097-48f3-9913-77a2a551454b" providerId="ADAL" clId="{7214F864-5F49-4D46-BAB9-6A328AA9D60C}" dt="2024-01-12T15:59:38.123" v="3" actId="20577"/>
        <pc:sldMkLst>
          <pc:docMk/>
          <pc:sldMk cId="2214578234" sldId="335"/>
        </pc:sldMkLst>
        <pc:spChg chg="mod">
          <ac:chgData name="West, Christopher" userId="1b29890f-c097-48f3-9913-77a2a551454b" providerId="ADAL" clId="{7214F864-5F49-4D46-BAB9-6A328AA9D60C}" dt="2024-01-12T15:59:38.123" v="3" actId="20577"/>
          <ac:spMkLst>
            <pc:docMk/>
            <pc:sldMk cId="2214578234" sldId="335"/>
            <ac:spMk id="3" creationId="{3485F4E9-86E7-473C-88D4-B224D829E5D4}"/>
          </ac:spMkLst>
        </pc:spChg>
      </pc:sldChg>
      <pc:sldChg chg="modSp mod">
        <pc:chgData name="West, Christopher" userId="1b29890f-c097-48f3-9913-77a2a551454b" providerId="ADAL" clId="{7214F864-5F49-4D46-BAB9-6A328AA9D60C}" dt="2024-01-12T16:01:39.660" v="53" actId="6549"/>
        <pc:sldMkLst>
          <pc:docMk/>
          <pc:sldMk cId="1471948642" sldId="336"/>
        </pc:sldMkLst>
        <pc:spChg chg="mod">
          <ac:chgData name="West, Christopher" userId="1b29890f-c097-48f3-9913-77a2a551454b" providerId="ADAL" clId="{7214F864-5F49-4D46-BAB9-6A328AA9D60C}" dt="2024-01-12T16:01:39.660" v="53" actId="6549"/>
          <ac:spMkLst>
            <pc:docMk/>
            <pc:sldMk cId="1471948642" sldId="336"/>
            <ac:spMk id="3" creationId="{3485F4E9-86E7-473C-88D4-B224D829E5D4}"/>
          </ac:spMkLst>
        </pc:spChg>
      </pc:sldChg>
      <pc:sldChg chg="modSp mod">
        <pc:chgData name="West, Christopher" userId="1b29890f-c097-48f3-9913-77a2a551454b" providerId="ADAL" clId="{7214F864-5F49-4D46-BAB9-6A328AA9D60C}" dt="2024-01-12T16:01:12.752" v="36" actId="20577"/>
        <pc:sldMkLst>
          <pc:docMk/>
          <pc:sldMk cId="1313054203" sldId="337"/>
        </pc:sldMkLst>
        <pc:spChg chg="mod">
          <ac:chgData name="West, Christopher" userId="1b29890f-c097-48f3-9913-77a2a551454b" providerId="ADAL" clId="{7214F864-5F49-4D46-BAB9-6A328AA9D60C}" dt="2024-01-12T16:01:12.752" v="36" actId="20577"/>
          <ac:spMkLst>
            <pc:docMk/>
            <pc:sldMk cId="1313054203" sldId="337"/>
            <ac:spMk id="3" creationId="{3485F4E9-86E7-473C-88D4-B224D829E5D4}"/>
          </ac:spMkLst>
        </pc:spChg>
      </pc:sldChg>
    </pc:docChg>
  </pc:docChgLst>
  <pc:docChgLst>
    <pc:chgData name="Larsen, Isak" userId="S::ilarsen@fmi.com::b6468be7-dc31-4fc7-a1ef-94d4514fb576" providerId="AD" clId="Web-{7118432E-CBFE-B1A0-2927-FDE54313F23B}"/>
    <pc:docChg chg="addSld delSld modSld">
      <pc:chgData name="Larsen, Isak" userId="S::ilarsen@fmi.com::b6468be7-dc31-4fc7-a1ef-94d4514fb576" providerId="AD" clId="Web-{7118432E-CBFE-B1A0-2927-FDE54313F23B}" dt="2024-08-15T22:06:03.312" v="25" actId="1076"/>
      <pc:docMkLst>
        <pc:docMk/>
      </pc:docMkLst>
      <pc:sldChg chg="modSp add">
        <pc:chgData name="Larsen, Isak" userId="S::ilarsen@fmi.com::b6468be7-dc31-4fc7-a1ef-94d4514fb576" providerId="AD" clId="Web-{7118432E-CBFE-B1A0-2927-FDE54313F23B}" dt="2024-08-15T22:06:03.312" v="25" actId="1076"/>
        <pc:sldMkLst>
          <pc:docMk/>
          <pc:sldMk cId="424349064" sldId="266"/>
        </pc:sldMkLst>
        <pc:spChg chg="mod">
          <ac:chgData name="Larsen, Isak" userId="S::ilarsen@fmi.com::b6468be7-dc31-4fc7-a1ef-94d4514fb576" providerId="AD" clId="Web-{7118432E-CBFE-B1A0-2927-FDE54313F23B}" dt="2024-08-15T22:04:08.902" v="17" actId="14100"/>
          <ac:spMkLst>
            <pc:docMk/>
            <pc:sldMk cId="424349064" sldId="266"/>
            <ac:spMk id="2" creationId="{BDCF3510-5DFD-4098-95DB-E25C05475A08}"/>
          </ac:spMkLst>
        </pc:spChg>
        <pc:spChg chg="mod">
          <ac:chgData name="Larsen, Isak" userId="S::ilarsen@fmi.com::b6468be7-dc31-4fc7-a1ef-94d4514fb576" providerId="AD" clId="Web-{7118432E-CBFE-B1A0-2927-FDE54313F23B}" dt="2024-08-15T22:04:58.403" v="19" actId="20577"/>
          <ac:spMkLst>
            <pc:docMk/>
            <pc:sldMk cId="424349064" sldId="266"/>
            <ac:spMk id="4" creationId="{F95B7DAD-9912-4445-A58E-CC22317C7623}"/>
          </ac:spMkLst>
        </pc:spChg>
        <pc:spChg chg="mod">
          <ac:chgData name="Larsen, Isak" userId="S::ilarsen@fmi.com::b6468be7-dc31-4fc7-a1ef-94d4514fb576" providerId="AD" clId="Web-{7118432E-CBFE-B1A0-2927-FDE54313F23B}" dt="2024-08-15T22:06:03.312" v="25" actId="1076"/>
          <ac:spMkLst>
            <pc:docMk/>
            <pc:sldMk cId="424349064" sldId="266"/>
            <ac:spMk id="12" creationId="{4EB54507-4EAE-4F38-BECC-3BF3C50CF0DF}"/>
          </ac:spMkLst>
        </pc:spChg>
      </pc:sldChg>
      <pc:sldChg chg="addSp delSp modSp add del replId">
        <pc:chgData name="Larsen, Isak" userId="S::ilarsen@fmi.com::b6468be7-dc31-4fc7-a1ef-94d4514fb576" providerId="AD" clId="Web-{7118432E-CBFE-B1A0-2927-FDE54313F23B}" dt="2024-08-15T22:04:02.011" v="16"/>
        <pc:sldMkLst>
          <pc:docMk/>
          <pc:sldMk cId="1412666900" sldId="367"/>
        </pc:sldMkLst>
        <pc:spChg chg="del">
          <ac:chgData name="Larsen, Isak" userId="S::ilarsen@fmi.com::b6468be7-dc31-4fc7-a1ef-94d4514fb576" providerId="AD" clId="Web-{7118432E-CBFE-B1A0-2927-FDE54313F23B}" dt="2024-08-15T22:01:30.397" v="4"/>
          <ac:spMkLst>
            <pc:docMk/>
            <pc:sldMk cId="1412666900" sldId="367"/>
            <ac:spMk id="3" creationId="{3485F4E9-86E7-473C-88D4-B224D829E5D4}"/>
          </ac:spMkLst>
        </pc:spChg>
        <pc:spChg chg="add del mod">
          <ac:chgData name="Larsen, Isak" userId="S::ilarsen@fmi.com::b6468be7-dc31-4fc7-a1ef-94d4514fb576" providerId="AD" clId="Web-{7118432E-CBFE-B1A0-2927-FDE54313F23B}" dt="2024-08-15T22:03:17.682" v="13"/>
          <ac:spMkLst>
            <pc:docMk/>
            <pc:sldMk cId="1412666900" sldId="367"/>
            <ac:spMk id="6" creationId="{13A93090-FC75-F32D-AE67-95E322998717}"/>
          </ac:spMkLst>
        </pc:spChg>
        <pc:spChg chg="add mod">
          <ac:chgData name="Larsen, Isak" userId="S::ilarsen@fmi.com::b6468be7-dc31-4fc7-a1ef-94d4514fb576" providerId="AD" clId="Web-{7118432E-CBFE-B1A0-2927-FDE54313F23B}" dt="2024-08-15T22:03:26.057" v="14"/>
          <ac:spMkLst>
            <pc:docMk/>
            <pc:sldMk cId="1412666900" sldId="367"/>
            <ac:spMk id="13" creationId="{0A2ADE39-BC7F-54D7-4EA5-B1E53AF94935}"/>
          </ac:spMkLst>
        </pc:spChg>
        <pc:picChg chg="del">
          <ac:chgData name="Larsen, Isak" userId="S::ilarsen@fmi.com::b6468be7-dc31-4fc7-a1ef-94d4514fb576" providerId="AD" clId="Web-{7118432E-CBFE-B1A0-2927-FDE54313F23B}" dt="2024-08-15T22:01:23.241" v="3"/>
          <ac:picMkLst>
            <pc:docMk/>
            <pc:sldMk cId="1412666900" sldId="367"/>
            <ac:picMk id="7" creationId="{8DAFE528-F8B5-4FC1-B5C0-0DFEE48283FB}"/>
          </ac:picMkLst>
        </pc:picChg>
        <pc:picChg chg="add del mod">
          <ac:chgData name="Larsen, Isak" userId="S::ilarsen@fmi.com::b6468be7-dc31-4fc7-a1ef-94d4514fb576" providerId="AD" clId="Web-{7118432E-CBFE-B1A0-2927-FDE54313F23B}" dt="2024-08-15T22:02:37.930" v="11"/>
          <ac:picMkLst>
            <pc:docMk/>
            <pc:sldMk cId="1412666900" sldId="367"/>
            <ac:picMk id="8" creationId="{B33304D3-02EF-5127-7304-EB8C9685FCC4}"/>
          </ac:picMkLst>
        </pc:picChg>
        <pc:picChg chg="del">
          <ac:chgData name="Larsen, Isak" userId="S::ilarsen@fmi.com::b6468be7-dc31-4fc7-a1ef-94d4514fb576" providerId="AD" clId="Web-{7118432E-CBFE-B1A0-2927-FDE54313F23B}" dt="2024-08-15T22:01:21.709" v="1"/>
          <ac:picMkLst>
            <pc:docMk/>
            <pc:sldMk cId="1412666900" sldId="367"/>
            <ac:picMk id="9" creationId="{BCCF6238-37B9-472F-A8C0-F0D3543C9BE2}"/>
          </ac:picMkLst>
        </pc:picChg>
        <pc:picChg chg="del">
          <ac:chgData name="Larsen, Isak" userId="S::ilarsen@fmi.com::b6468be7-dc31-4fc7-a1ef-94d4514fb576" providerId="AD" clId="Web-{7118432E-CBFE-B1A0-2927-FDE54313F23B}" dt="2024-08-15T22:01:22.616" v="2"/>
          <ac:picMkLst>
            <pc:docMk/>
            <pc:sldMk cId="1412666900" sldId="367"/>
            <ac:picMk id="10" creationId="{DB2E723E-0972-42AD-A227-FF53D40469D5}"/>
          </ac:picMkLst>
        </pc:picChg>
        <pc:picChg chg="add del mod ord">
          <ac:chgData name="Larsen, Isak" userId="S::ilarsen@fmi.com::b6468be7-dc31-4fc7-a1ef-94d4514fb576" providerId="AD" clId="Web-{7118432E-CBFE-B1A0-2927-FDE54313F23B}" dt="2024-08-15T22:03:26.057" v="14"/>
          <ac:picMkLst>
            <pc:docMk/>
            <pc:sldMk cId="1412666900" sldId="367"/>
            <ac:picMk id="11" creationId="{0B40628A-0E13-2376-B16F-DEA92795B46C}"/>
          </ac:picMkLst>
        </pc:picChg>
      </pc:sldChg>
      <pc:sldMasterChg chg="addSldLayout">
        <pc:chgData name="Larsen, Isak" userId="S::ilarsen@fmi.com::b6468be7-dc31-4fc7-a1ef-94d4514fb576" providerId="AD" clId="Web-{7118432E-CBFE-B1A0-2927-FDE54313F23B}" dt="2024-08-15T22:03:54.292" v="15"/>
        <pc:sldMasterMkLst>
          <pc:docMk/>
          <pc:sldMasterMk cId="2530762699" sldId="2147483773"/>
        </pc:sldMasterMkLst>
        <pc:sldLayoutChg chg="add">
          <pc:chgData name="Larsen, Isak" userId="S::ilarsen@fmi.com::b6468be7-dc31-4fc7-a1ef-94d4514fb576" providerId="AD" clId="Web-{7118432E-CBFE-B1A0-2927-FDE54313F23B}" dt="2024-08-15T22:03:54.292" v="15"/>
          <pc:sldLayoutMkLst>
            <pc:docMk/>
            <pc:sldMasterMk cId="2530762699" sldId="2147483773"/>
            <pc:sldLayoutMk cId="2112398299" sldId="2147483776"/>
          </pc:sldLayoutMkLst>
        </pc:sldLayoutChg>
      </pc:sldMasterChg>
    </pc:docChg>
  </pc:docChgLst>
  <pc:docChgLst>
    <pc:chgData name="Cano, Diana" userId="7ae0d054-aa41-4eb0-96b5-853a0c5af08d" providerId="ADAL" clId="{B6CDD9EF-D789-4179-8C46-29B63FCBE3F3}"/>
    <pc:docChg chg="modSld">
      <pc:chgData name="Cano, Diana" userId="7ae0d054-aa41-4eb0-96b5-853a0c5af08d" providerId="ADAL" clId="{B6CDD9EF-D789-4179-8C46-29B63FCBE3F3}" dt="2024-06-11T21:38:13.157" v="25" actId="20577"/>
      <pc:docMkLst>
        <pc:docMk/>
      </pc:docMkLst>
      <pc:sldChg chg="modSp mod">
        <pc:chgData name="Cano, Diana" userId="7ae0d054-aa41-4eb0-96b5-853a0c5af08d" providerId="ADAL" clId="{B6CDD9EF-D789-4179-8C46-29B63FCBE3F3}" dt="2024-06-11T21:38:13.157" v="25" actId="20577"/>
        <pc:sldMkLst>
          <pc:docMk/>
          <pc:sldMk cId="126177330" sldId="269"/>
        </pc:sldMkLst>
        <pc:graphicFrameChg chg="mod">
          <ac:chgData name="Cano, Diana" userId="7ae0d054-aa41-4eb0-96b5-853a0c5af08d" providerId="ADAL" clId="{B6CDD9EF-D789-4179-8C46-29B63FCBE3F3}" dt="2024-06-11T21:38:13.157" v="25" actId="20577"/>
          <ac:graphicFrameMkLst>
            <pc:docMk/>
            <pc:sldMk cId="126177330" sldId="269"/>
            <ac:graphicFrameMk id="7" creationId="{00000000-0000-0000-0000-000000000000}"/>
          </ac:graphicFrameMkLst>
        </pc:graphicFrameChg>
      </pc:sldChg>
    </pc:docChg>
  </pc:docChgLst>
  <pc:docChgLst>
    <pc:chgData name="Cano, Diana" userId="7ae0d054-aa41-4eb0-96b5-853a0c5af08d" providerId="ADAL" clId="{518E5F37-2422-4499-9BEE-F7D277E8737D}"/>
    <pc:docChg chg="modSld">
      <pc:chgData name="Cano, Diana" userId="7ae0d054-aa41-4eb0-96b5-853a0c5af08d" providerId="ADAL" clId="{518E5F37-2422-4499-9BEE-F7D277E8737D}" dt="2024-01-17T13:08:23.912" v="114" actId="20577"/>
      <pc:docMkLst>
        <pc:docMk/>
      </pc:docMkLst>
      <pc:sldChg chg="modSp mod">
        <pc:chgData name="Cano, Diana" userId="7ae0d054-aa41-4eb0-96b5-853a0c5af08d" providerId="ADAL" clId="{518E5F37-2422-4499-9BEE-F7D277E8737D}" dt="2024-01-17T13:08:23.912" v="114" actId="20577"/>
        <pc:sldMkLst>
          <pc:docMk/>
          <pc:sldMk cId="126177330" sldId="269"/>
        </pc:sldMkLst>
        <pc:graphicFrameChg chg="mod">
          <ac:chgData name="Cano, Diana" userId="7ae0d054-aa41-4eb0-96b5-853a0c5af08d" providerId="ADAL" clId="{518E5F37-2422-4499-9BEE-F7D277E8737D}" dt="2024-01-17T13:08:23.912" v="114" actId="20577"/>
          <ac:graphicFrameMkLst>
            <pc:docMk/>
            <pc:sldMk cId="126177330" sldId="269"/>
            <ac:graphicFrameMk id="7" creationId="{00000000-0000-0000-0000-000000000000}"/>
          </ac:graphicFrameMkLst>
        </pc:graphicFrameChg>
      </pc:sldChg>
      <pc:sldChg chg="modSp mod">
        <pc:chgData name="Cano, Diana" userId="7ae0d054-aa41-4eb0-96b5-853a0c5af08d" providerId="ADAL" clId="{518E5F37-2422-4499-9BEE-F7D277E8737D}" dt="2024-01-09T19:00:49.020" v="1" actId="20577"/>
        <pc:sldMkLst>
          <pc:docMk/>
          <pc:sldMk cId="1681375740" sldId="318"/>
        </pc:sldMkLst>
        <pc:spChg chg="mod">
          <ac:chgData name="Cano, Diana" userId="7ae0d054-aa41-4eb0-96b5-853a0c5af08d" providerId="ADAL" clId="{518E5F37-2422-4499-9BEE-F7D277E8737D}" dt="2024-01-09T19:00:49.020" v="1" actId="20577"/>
          <ac:spMkLst>
            <pc:docMk/>
            <pc:sldMk cId="1681375740" sldId="318"/>
            <ac:spMk id="3" creationId="{6E030D5C-4C1B-44EF-A602-2D302C14785D}"/>
          </ac:spMkLst>
        </pc:spChg>
      </pc:sldChg>
      <pc:sldChg chg="modSp mod">
        <pc:chgData name="Cano, Diana" userId="7ae0d054-aa41-4eb0-96b5-853a0c5af08d" providerId="ADAL" clId="{518E5F37-2422-4499-9BEE-F7D277E8737D}" dt="2024-01-09T19:01:52.497" v="83" actId="20577"/>
        <pc:sldMkLst>
          <pc:docMk/>
          <pc:sldMk cId="2650408460" sldId="360"/>
        </pc:sldMkLst>
        <pc:spChg chg="mod">
          <ac:chgData name="Cano, Diana" userId="7ae0d054-aa41-4eb0-96b5-853a0c5af08d" providerId="ADAL" clId="{518E5F37-2422-4499-9BEE-F7D277E8737D}" dt="2024-01-09T19:01:13.971" v="3" actId="20577"/>
          <ac:spMkLst>
            <pc:docMk/>
            <pc:sldMk cId="2650408460" sldId="360"/>
            <ac:spMk id="4" creationId="{3D7F329E-61AB-CE20-F9BE-FC1B0B8F1E04}"/>
          </ac:spMkLst>
        </pc:spChg>
        <pc:graphicFrameChg chg="mod">
          <ac:chgData name="Cano, Diana" userId="7ae0d054-aa41-4eb0-96b5-853a0c5af08d" providerId="ADAL" clId="{518E5F37-2422-4499-9BEE-F7D277E8737D}" dt="2024-01-09T19:01:52.497" v="83" actId="20577"/>
          <ac:graphicFrameMkLst>
            <pc:docMk/>
            <pc:sldMk cId="2650408460" sldId="360"/>
            <ac:graphicFrameMk id="6" creationId="{8B67F7FC-1529-0FDD-1744-DB932FEB573F}"/>
          </ac:graphicFrameMkLst>
        </pc:graphicFrameChg>
      </pc:sldChg>
    </pc:docChg>
  </pc:docChgLst>
  <pc:docChgLst>
    <pc:chgData name="Cano, Diana" userId="7ae0d054-aa41-4eb0-96b5-853a0c5af08d" providerId="ADAL" clId="{29D19F81-B072-4EA4-ACDE-1BA1815926FC}"/>
    <pc:docChg chg="undo custSel addSld delSld modSld sldOrd addMainMaster delMainMaster modMainMaster">
      <pc:chgData name="Cano, Diana" userId="7ae0d054-aa41-4eb0-96b5-853a0c5af08d" providerId="ADAL" clId="{29D19F81-B072-4EA4-ACDE-1BA1815926FC}" dt="2024-05-09T13:39:22.839" v="1002" actId="1076"/>
      <pc:docMkLst>
        <pc:docMk/>
      </pc:docMkLst>
      <pc:sldChg chg="modSp mod modClrScheme chgLayout">
        <pc:chgData name="Cano, Diana" userId="7ae0d054-aa41-4eb0-96b5-853a0c5af08d" providerId="ADAL" clId="{29D19F81-B072-4EA4-ACDE-1BA1815926FC}" dt="2024-05-09T13:08:26.056" v="177" actId="1076"/>
        <pc:sldMkLst>
          <pc:docMk/>
          <pc:sldMk cId="4118586891" sldId="256"/>
        </pc:sldMkLst>
        <pc:spChg chg="mod ord">
          <ac:chgData name="Cano, Diana" userId="7ae0d054-aa41-4eb0-96b5-853a0c5af08d" providerId="ADAL" clId="{29D19F81-B072-4EA4-ACDE-1BA1815926FC}" dt="2024-05-09T13:08:00.926" v="174" actId="14100"/>
          <ac:spMkLst>
            <pc:docMk/>
            <pc:sldMk cId="4118586891" sldId="256"/>
            <ac:spMk id="2" creationId="{46A9399A-B992-8334-276D-35C60E5E8622}"/>
          </ac:spMkLst>
        </pc:spChg>
        <pc:spChg chg="mod ord">
          <ac:chgData name="Cano, Diana" userId="7ae0d054-aa41-4eb0-96b5-853a0c5af08d" providerId="ADAL" clId="{29D19F81-B072-4EA4-ACDE-1BA1815926FC}" dt="2024-05-09T13:08:10.196" v="175" actId="113"/>
          <ac:spMkLst>
            <pc:docMk/>
            <pc:sldMk cId="4118586891" sldId="256"/>
            <ac:spMk id="3" creationId="{5CF79619-0C2C-A82C-FAB5-844C801332DC}"/>
          </ac:spMkLst>
        </pc:spChg>
        <pc:spChg chg="mod ord">
          <ac:chgData name="Cano, Diana" userId="7ae0d054-aa41-4eb0-96b5-853a0c5af08d" providerId="ADAL" clId="{29D19F81-B072-4EA4-ACDE-1BA1815926FC}" dt="2024-05-09T13:06:50.810" v="158" actId="700"/>
          <ac:spMkLst>
            <pc:docMk/>
            <pc:sldMk cId="4118586891" sldId="256"/>
            <ac:spMk id="4" creationId="{ED436718-BEC9-B76C-45F6-D68C0AB68C5B}"/>
          </ac:spMkLst>
        </pc:spChg>
        <pc:spChg chg="mod ord">
          <ac:chgData name="Cano, Diana" userId="7ae0d054-aa41-4eb0-96b5-853a0c5af08d" providerId="ADAL" clId="{29D19F81-B072-4EA4-ACDE-1BA1815926FC}" dt="2024-05-09T13:06:50.810" v="158" actId="700"/>
          <ac:spMkLst>
            <pc:docMk/>
            <pc:sldMk cId="4118586891" sldId="256"/>
            <ac:spMk id="5" creationId="{2EA11196-767A-51F9-91C6-19C6106853C1}"/>
          </ac:spMkLst>
        </pc:spChg>
        <pc:spChg chg="mod ord">
          <ac:chgData name="Cano, Diana" userId="7ae0d054-aa41-4eb0-96b5-853a0c5af08d" providerId="ADAL" clId="{29D19F81-B072-4EA4-ACDE-1BA1815926FC}" dt="2024-05-09T13:07:49.035" v="171" actId="14100"/>
          <ac:spMkLst>
            <pc:docMk/>
            <pc:sldMk cId="4118586891" sldId="256"/>
            <ac:spMk id="6" creationId="{1F0EA826-B010-C769-F75F-DB8B9271B7F2}"/>
          </ac:spMkLst>
        </pc:spChg>
        <pc:spChg chg="mod ord">
          <ac:chgData name="Cano, Diana" userId="7ae0d054-aa41-4eb0-96b5-853a0c5af08d" providerId="ADAL" clId="{29D19F81-B072-4EA4-ACDE-1BA1815926FC}" dt="2024-05-09T13:08:15.269" v="176" actId="113"/>
          <ac:spMkLst>
            <pc:docMk/>
            <pc:sldMk cId="4118586891" sldId="256"/>
            <ac:spMk id="7" creationId="{D3300A1E-F507-FD54-6832-95E938A2333C}"/>
          </ac:spMkLst>
        </pc:spChg>
        <pc:picChg chg="mod">
          <ac:chgData name="Cano, Diana" userId="7ae0d054-aa41-4eb0-96b5-853a0c5af08d" providerId="ADAL" clId="{29D19F81-B072-4EA4-ACDE-1BA1815926FC}" dt="2024-05-09T13:08:26.056" v="177" actId="1076"/>
          <ac:picMkLst>
            <pc:docMk/>
            <pc:sldMk cId="4118586891" sldId="256"/>
            <ac:picMk id="9" creationId="{2A974590-69CC-0B1F-01F3-69C3DC2017C0}"/>
          </ac:picMkLst>
        </pc:picChg>
      </pc:sldChg>
      <pc:sldChg chg="addSp delSp modSp mod modClrScheme chgLayout">
        <pc:chgData name="Cano, Diana" userId="7ae0d054-aa41-4eb0-96b5-853a0c5af08d" providerId="ADAL" clId="{29D19F81-B072-4EA4-ACDE-1BA1815926FC}" dt="2024-05-09T13:17:13.151" v="372" actId="207"/>
        <pc:sldMkLst>
          <pc:docMk/>
          <pc:sldMk cId="3442091147" sldId="257"/>
        </pc:sldMkLst>
        <pc:spChg chg="del mod ord">
          <ac:chgData name="Cano, Diana" userId="7ae0d054-aa41-4eb0-96b5-853a0c5af08d" providerId="ADAL" clId="{29D19F81-B072-4EA4-ACDE-1BA1815926FC}" dt="2024-05-09T13:16:36.916" v="362" actId="478"/>
          <ac:spMkLst>
            <pc:docMk/>
            <pc:sldMk cId="3442091147" sldId="257"/>
            <ac:spMk id="2" creationId="{5394A2A7-CE92-65A4-A47F-E66F031ADB81}"/>
          </ac:spMkLst>
        </pc:spChg>
        <pc:spChg chg="mod ord">
          <ac:chgData name="Cano, Diana" userId="7ae0d054-aa41-4eb0-96b5-853a0c5af08d" providerId="ADAL" clId="{29D19F81-B072-4EA4-ACDE-1BA1815926FC}" dt="2024-05-09T13:17:13.151" v="372" actId="207"/>
          <ac:spMkLst>
            <pc:docMk/>
            <pc:sldMk cId="3442091147" sldId="257"/>
            <ac:spMk id="3" creationId="{21291A9E-7155-2E42-5303-0E394133F16D}"/>
          </ac:spMkLst>
        </pc:spChg>
        <pc:spChg chg="mod ord">
          <ac:chgData name="Cano, Diana" userId="7ae0d054-aa41-4eb0-96b5-853a0c5af08d" providerId="ADAL" clId="{29D19F81-B072-4EA4-ACDE-1BA1815926FC}" dt="2024-05-09T13:16:48.536" v="365" actId="700"/>
          <ac:spMkLst>
            <pc:docMk/>
            <pc:sldMk cId="3442091147" sldId="257"/>
            <ac:spMk id="4" creationId="{B5B49D7A-D892-628A-D1E9-FE644BEEEBA8}"/>
          </ac:spMkLst>
        </pc:spChg>
        <pc:spChg chg="mod ord">
          <ac:chgData name="Cano, Diana" userId="7ae0d054-aa41-4eb0-96b5-853a0c5af08d" providerId="ADAL" clId="{29D19F81-B072-4EA4-ACDE-1BA1815926FC}" dt="2024-05-09T13:16:48.536" v="365" actId="700"/>
          <ac:spMkLst>
            <pc:docMk/>
            <pc:sldMk cId="3442091147" sldId="257"/>
            <ac:spMk id="5" creationId="{270FC553-94E9-E9C2-20D4-C33C37632DDF}"/>
          </ac:spMkLst>
        </pc:spChg>
        <pc:spChg chg="del mod ord">
          <ac:chgData name="Cano, Diana" userId="7ae0d054-aa41-4eb0-96b5-853a0c5af08d" providerId="ADAL" clId="{29D19F81-B072-4EA4-ACDE-1BA1815926FC}" dt="2024-05-09T13:16:11.780" v="354" actId="478"/>
          <ac:spMkLst>
            <pc:docMk/>
            <pc:sldMk cId="3442091147" sldId="257"/>
            <ac:spMk id="6" creationId="{0AEAD1D4-94F6-97E9-8E52-83D4DA60098B}"/>
          </ac:spMkLst>
        </pc:spChg>
        <pc:spChg chg="mod ord">
          <ac:chgData name="Cano, Diana" userId="7ae0d054-aa41-4eb0-96b5-853a0c5af08d" providerId="ADAL" clId="{29D19F81-B072-4EA4-ACDE-1BA1815926FC}" dt="2024-05-09T13:17:08.784" v="370" actId="207"/>
          <ac:spMkLst>
            <pc:docMk/>
            <pc:sldMk cId="3442091147" sldId="257"/>
            <ac:spMk id="7" creationId="{60CE72FD-BB4D-C440-CE90-B4F4E4B96C95}"/>
          </ac:spMkLst>
        </pc:spChg>
        <pc:spChg chg="add del mod">
          <ac:chgData name="Cano, Diana" userId="7ae0d054-aa41-4eb0-96b5-853a0c5af08d" providerId="ADAL" clId="{29D19F81-B072-4EA4-ACDE-1BA1815926FC}" dt="2024-05-09T13:16:15.234" v="355" actId="478"/>
          <ac:spMkLst>
            <pc:docMk/>
            <pc:sldMk cId="3442091147" sldId="257"/>
            <ac:spMk id="9" creationId="{D135C9A5-5330-C34C-3AD7-879B2D5A0AD8}"/>
          </ac:spMkLst>
        </pc:spChg>
        <pc:spChg chg="add del mod">
          <ac:chgData name="Cano, Diana" userId="7ae0d054-aa41-4eb0-96b5-853a0c5af08d" providerId="ADAL" clId="{29D19F81-B072-4EA4-ACDE-1BA1815926FC}" dt="2024-05-09T13:16:41.140" v="363" actId="478"/>
          <ac:spMkLst>
            <pc:docMk/>
            <pc:sldMk cId="3442091147" sldId="257"/>
            <ac:spMk id="11" creationId="{EB34A922-F262-AB91-97B1-885B84210595}"/>
          </ac:spMkLst>
        </pc:spChg>
      </pc:sldChg>
      <pc:sldChg chg="modSp mod modClrScheme chgLayout modNotesTx">
        <pc:chgData name="Cano, Diana" userId="7ae0d054-aa41-4eb0-96b5-853a0c5af08d" providerId="ADAL" clId="{29D19F81-B072-4EA4-ACDE-1BA1815926FC}" dt="2024-05-09T13:23:15.802" v="711" actId="313"/>
        <pc:sldMkLst>
          <pc:docMk/>
          <pc:sldMk cId="1303661195" sldId="259"/>
        </pc:sldMkLst>
        <pc:spChg chg="mod ord">
          <ac:chgData name="Cano, Diana" userId="7ae0d054-aa41-4eb0-96b5-853a0c5af08d" providerId="ADAL" clId="{29D19F81-B072-4EA4-ACDE-1BA1815926FC}" dt="2024-05-09T13:19:04.460" v="387" actId="700"/>
          <ac:spMkLst>
            <pc:docMk/>
            <pc:sldMk cId="1303661195" sldId="259"/>
            <ac:spMk id="2" creationId="{082083A2-F090-4F80-89B2-9C0F6FF3ADA3}"/>
          </ac:spMkLst>
        </pc:spChg>
        <pc:spChg chg="mod ord">
          <ac:chgData name="Cano, Diana" userId="7ae0d054-aa41-4eb0-96b5-853a0c5af08d" providerId="ADAL" clId="{29D19F81-B072-4EA4-ACDE-1BA1815926FC}" dt="2024-05-09T13:19:56.647" v="395" actId="14100"/>
          <ac:spMkLst>
            <pc:docMk/>
            <pc:sldMk cId="1303661195" sldId="259"/>
            <ac:spMk id="3" creationId="{2EA88FBC-3A03-4935-BE36-C87A0E0F2832}"/>
          </ac:spMkLst>
        </pc:spChg>
        <pc:spChg chg="mod ord">
          <ac:chgData name="Cano, Diana" userId="7ae0d054-aa41-4eb0-96b5-853a0c5af08d" providerId="ADAL" clId="{29D19F81-B072-4EA4-ACDE-1BA1815926FC}" dt="2024-05-09T13:19:35.788" v="392" actId="255"/>
          <ac:spMkLst>
            <pc:docMk/>
            <pc:sldMk cId="1303661195" sldId="259"/>
            <ac:spMk id="4" creationId="{8551AD51-9E96-4C05-8029-27C91EB5ACAC}"/>
          </ac:spMkLst>
        </pc:spChg>
        <pc:picChg chg="mod">
          <ac:chgData name="Cano, Diana" userId="7ae0d054-aa41-4eb0-96b5-853a0c5af08d" providerId="ADAL" clId="{29D19F81-B072-4EA4-ACDE-1BA1815926FC}" dt="2024-05-09T13:20:07.936" v="397" actId="1076"/>
          <ac:picMkLst>
            <pc:docMk/>
            <pc:sldMk cId="1303661195" sldId="259"/>
            <ac:picMk id="1026" creationId="{589A8201-79C0-37D3-17C3-622E4BF0CE5C}"/>
          </ac:picMkLst>
        </pc:picChg>
      </pc:sldChg>
      <pc:sldChg chg="modSp mod modClrScheme chgLayout">
        <pc:chgData name="Cano, Diana" userId="7ae0d054-aa41-4eb0-96b5-853a0c5af08d" providerId="ADAL" clId="{29D19F81-B072-4EA4-ACDE-1BA1815926FC}" dt="2024-05-09T13:10:43.739" v="193" actId="1076"/>
        <pc:sldMkLst>
          <pc:docMk/>
          <pc:sldMk cId="126177330" sldId="269"/>
        </pc:sldMkLst>
        <pc:spChg chg="mod ord">
          <ac:chgData name="Cano, Diana" userId="7ae0d054-aa41-4eb0-96b5-853a0c5af08d" providerId="ADAL" clId="{29D19F81-B072-4EA4-ACDE-1BA1815926FC}" dt="2024-05-09T13:10:22.593" v="190" actId="700"/>
          <ac:spMkLst>
            <pc:docMk/>
            <pc:sldMk cId="126177330" sldId="269"/>
            <ac:spMk id="2" creationId="{00000000-0000-0000-0000-000000000000}"/>
          </ac:spMkLst>
        </pc:spChg>
        <pc:spChg chg="mod ord">
          <ac:chgData name="Cano, Diana" userId="7ae0d054-aa41-4eb0-96b5-853a0c5af08d" providerId="ADAL" clId="{29D19F81-B072-4EA4-ACDE-1BA1815926FC}" dt="2024-05-09T13:10:22.593" v="190" actId="700"/>
          <ac:spMkLst>
            <pc:docMk/>
            <pc:sldMk cId="126177330" sldId="269"/>
            <ac:spMk id="8" creationId="{00000000-0000-0000-0000-000000000000}"/>
          </ac:spMkLst>
        </pc:spChg>
        <pc:graphicFrameChg chg="mod">
          <ac:chgData name="Cano, Diana" userId="7ae0d054-aa41-4eb0-96b5-853a0c5af08d" providerId="ADAL" clId="{29D19F81-B072-4EA4-ACDE-1BA1815926FC}" dt="2024-05-09T13:10:43.739" v="193" actId="1076"/>
          <ac:graphicFrameMkLst>
            <pc:docMk/>
            <pc:sldMk cId="126177330" sldId="269"/>
            <ac:graphicFrameMk id="7" creationId="{00000000-0000-0000-0000-000000000000}"/>
          </ac:graphicFrameMkLst>
        </pc:graphicFrameChg>
        <pc:picChg chg="mod ord">
          <ac:chgData name="Cano, Diana" userId="7ae0d054-aa41-4eb0-96b5-853a0c5af08d" providerId="ADAL" clId="{29D19F81-B072-4EA4-ACDE-1BA1815926FC}" dt="2024-05-09T13:10:38.255" v="192" actId="1076"/>
          <ac:picMkLst>
            <pc:docMk/>
            <pc:sldMk cId="126177330" sldId="269"/>
            <ac:picMk id="4" creationId="{00000000-0000-0000-0000-000000000000}"/>
          </ac:picMkLst>
        </pc:picChg>
      </pc:sldChg>
      <pc:sldChg chg="del">
        <pc:chgData name="Cano, Diana" userId="7ae0d054-aa41-4eb0-96b5-853a0c5af08d" providerId="ADAL" clId="{29D19F81-B072-4EA4-ACDE-1BA1815926FC}" dt="2024-05-09T13:14:34.224" v="349" actId="2696"/>
        <pc:sldMkLst>
          <pc:docMk/>
          <pc:sldMk cId="1786276681" sldId="308"/>
        </pc:sldMkLst>
      </pc:sldChg>
      <pc:sldChg chg="modSp mod modClrScheme chgLayout">
        <pc:chgData name="Cano, Diana" userId="7ae0d054-aa41-4eb0-96b5-853a0c5af08d" providerId="ADAL" clId="{29D19F81-B072-4EA4-ACDE-1BA1815926FC}" dt="2024-05-09T13:39:22.839" v="1002" actId="1076"/>
        <pc:sldMkLst>
          <pc:docMk/>
          <pc:sldMk cId="1681375740" sldId="318"/>
        </pc:sldMkLst>
        <pc:spChg chg="mod ord">
          <ac:chgData name="Cano, Diana" userId="7ae0d054-aa41-4eb0-96b5-853a0c5af08d" providerId="ADAL" clId="{29D19F81-B072-4EA4-ACDE-1BA1815926FC}" dt="2024-05-09T12:51:13.276" v="15" actId="1076"/>
          <ac:spMkLst>
            <pc:docMk/>
            <pc:sldMk cId="1681375740" sldId="318"/>
            <ac:spMk id="2" creationId="{E196DB36-DC34-4F3B-8B50-AF2DAB5E98FE}"/>
          </ac:spMkLst>
        </pc:spChg>
        <pc:spChg chg="mod ord">
          <ac:chgData name="Cano, Diana" userId="7ae0d054-aa41-4eb0-96b5-853a0c5af08d" providerId="ADAL" clId="{29D19F81-B072-4EA4-ACDE-1BA1815926FC}" dt="2024-05-09T13:39:22.839" v="1002" actId="1076"/>
          <ac:spMkLst>
            <pc:docMk/>
            <pc:sldMk cId="1681375740" sldId="318"/>
            <ac:spMk id="3" creationId="{6E030D5C-4C1B-44EF-A602-2D302C14785D}"/>
          </ac:spMkLst>
        </pc:spChg>
      </pc:sldChg>
      <pc:sldChg chg="addSp delSp modSp mod modClrScheme chgLayout">
        <pc:chgData name="Cano, Diana" userId="7ae0d054-aa41-4eb0-96b5-853a0c5af08d" providerId="ADAL" clId="{29D19F81-B072-4EA4-ACDE-1BA1815926FC}" dt="2024-05-09T12:51:53.407" v="44" actId="478"/>
        <pc:sldMkLst>
          <pc:docMk/>
          <pc:sldMk cId="2401547735" sldId="319"/>
        </pc:sldMkLst>
        <pc:spChg chg="add mod ord">
          <ac:chgData name="Cano, Diana" userId="7ae0d054-aa41-4eb0-96b5-853a0c5af08d" providerId="ADAL" clId="{29D19F81-B072-4EA4-ACDE-1BA1815926FC}" dt="2024-05-09T12:51:40.560" v="42" actId="5793"/>
          <ac:spMkLst>
            <pc:docMk/>
            <pc:sldMk cId="2401547735" sldId="319"/>
            <ac:spMk id="3" creationId="{2AAC0806-704A-6DDE-6D76-F1EF1CCC31FD}"/>
          </ac:spMkLst>
        </pc:spChg>
        <pc:spChg chg="add del mod ord">
          <ac:chgData name="Cano, Diana" userId="7ae0d054-aa41-4eb0-96b5-853a0c5af08d" providerId="ADAL" clId="{29D19F81-B072-4EA4-ACDE-1BA1815926FC}" dt="2024-05-09T12:51:47.599" v="43" actId="478"/>
          <ac:spMkLst>
            <pc:docMk/>
            <pc:sldMk cId="2401547735" sldId="319"/>
            <ac:spMk id="4" creationId="{11807C48-FA6D-C19B-E7AB-E424E4F611B6}"/>
          </ac:spMkLst>
        </pc:spChg>
        <pc:spChg chg="del">
          <ac:chgData name="Cano, Diana" userId="7ae0d054-aa41-4eb0-96b5-853a0c5af08d" providerId="ADAL" clId="{29D19F81-B072-4EA4-ACDE-1BA1815926FC}" dt="2024-05-09T12:51:53.407" v="44" actId="478"/>
          <ac:spMkLst>
            <pc:docMk/>
            <pc:sldMk cId="2401547735" sldId="319"/>
            <ac:spMk id="5" creationId="{BA9C15CE-09AE-244D-EEEF-ECFA70F098B9}"/>
          </ac:spMkLst>
        </pc:spChg>
      </pc:sldChg>
      <pc:sldChg chg="modSp mod modClrScheme chgLayout">
        <pc:chgData name="Cano, Diana" userId="7ae0d054-aa41-4eb0-96b5-853a0c5af08d" providerId="ADAL" clId="{29D19F81-B072-4EA4-ACDE-1BA1815926FC}" dt="2024-05-09T13:17:36.160" v="373" actId="1076"/>
        <pc:sldMkLst>
          <pc:docMk/>
          <pc:sldMk cId="276499022" sldId="320"/>
        </pc:sldMkLst>
        <pc:spChg chg="mod ord">
          <ac:chgData name="Cano, Diana" userId="7ae0d054-aa41-4eb0-96b5-853a0c5af08d" providerId="ADAL" clId="{29D19F81-B072-4EA4-ACDE-1BA1815926FC}" dt="2024-05-09T12:52:28.174" v="48" actId="26606"/>
          <ac:spMkLst>
            <pc:docMk/>
            <pc:sldMk cId="276499022" sldId="320"/>
            <ac:spMk id="2" creationId="{E79952AC-6475-41DF-AF62-A32D9EDEC727}"/>
          </ac:spMkLst>
        </pc:spChg>
        <pc:spChg chg="mod ord">
          <ac:chgData name="Cano, Diana" userId="7ae0d054-aa41-4eb0-96b5-853a0c5af08d" providerId="ADAL" clId="{29D19F81-B072-4EA4-ACDE-1BA1815926FC}" dt="2024-05-09T13:17:36.160" v="373" actId="1076"/>
          <ac:spMkLst>
            <pc:docMk/>
            <pc:sldMk cId="276499022" sldId="320"/>
            <ac:spMk id="3" creationId="{54BA1DA5-9DD9-45BE-8BCF-B1C683077F61}"/>
          </ac:spMkLst>
        </pc:spChg>
        <pc:spChg chg="mod ord">
          <ac:chgData name="Cano, Diana" userId="7ae0d054-aa41-4eb0-96b5-853a0c5af08d" providerId="ADAL" clId="{29D19F81-B072-4EA4-ACDE-1BA1815926FC}" dt="2024-05-09T12:52:28.174" v="48" actId="26606"/>
          <ac:spMkLst>
            <pc:docMk/>
            <pc:sldMk cId="276499022" sldId="320"/>
            <ac:spMk id="4" creationId="{CBF84E96-52F1-452A-9D97-F7645934FF8C}"/>
          </ac:spMkLst>
        </pc:spChg>
        <pc:picChg chg="mod">
          <ac:chgData name="Cano, Diana" userId="7ae0d054-aa41-4eb0-96b5-853a0c5af08d" providerId="ADAL" clId="{29D19F81-B072-4EA4-ACDE-1BA1815926FC}" dt="2024-05-09T12:52:28.174" v="48" actId="26606"/>
          <ac:picMkLst>
            <pc:docMk/>
            <pc:sldMk cId="276499022" sldId="320"/>
            <ac:picMk id="6" creationId="{755CED33-3772-3601-F010-097A5805A900}"/>
          </ac:picMkLst>
        </pc:picChg>
      </pc:sldChg>
      <pc:sldChg chg="modSp mod modClrScheme chgLayout">
        <pc:chgData name="Cano, Diana" userId="7ae0d054-aa41-4eb0-96b5-853a0c5af08d" providerId="ADAL" clId="{29D19F81-B072-4EA4-ACDE-1BA1815926FC}" dt="2024-05-09T13:17:41.456" v="374" actId="1076"/>
        <pc:sldMkLst>
          <pc:docMk/>
          <pc:sldMk cId="747919819" sldId="321"/>
        </pc:sldMkLst>
        <pc:spChg chg="mod ord">
          <ac:chgData name="Cano, Diana" userId="7ae0d054-aa41-4eb0-96b5-853a0c5af08d" providerId="ADAL" clId="{29D19F81-B072-4EA4-ACDE-1BA1815926FC}" dt="2024-05-09T13:17:41.456" v="374" actId="1076"/>
          <ac:spMkLst>
            <pc:docMk/>
            <pc:sldMk cId="747919819" sldId="321"/>
            <ac:spMk id="3" creationId="{57D4F00C-B5A5-479F-93B9-7964BEF61002}"/>
          </ac:spMkLst>
        </pc:spChg>
        <pc:spChg chg="mod ord">
          <ac:chgData name="Cano, Diana" userId="7ae0d054-aa41-4eb0-96b5-853a0c5af08d" providerId="ADAL" clId="{29D19F81-B072-4EA4-ACDE-1BA1815926FC}" dt="2024-05-09T12:52:06.572" v="46" actId="26606"/>
          <ac:spMkLst>
            <pc:docMk/>
            <pc:sldMk cId="747919819" sldId="321"/>
            <ac:spMk id="4" creationId="{4DA6E147-6C0E-4AC8-B98C-3DB5B64A6597}"/>
          </ac:spMkLst>
        </pc:spChg>
        <pc:spChg chg="mod ord">
          <ac:chgData name="Cano, Diana" userId="7ae0d054-aa41-4eb0-96b5-853a0c5af08d" providerId="ADAL" clId="{29D19F81-B072-4EA4-ACDE-1BA1815926FC}" dt="2024-05-09T12:52:06.572" v="46" actId="26606"/>
          <ac:spMkLst>
            <pc:docMk/>
            <pc:sldMk cId="747919819" sldId="321"/>
            <ac:spMk id="8" creationId="{F71F6D83-C5D9-4ED9-8198-FB9C902E95F1}"/>
          </ac:spMkLst>
        </pc:spChg>
        <pc:picChg chg="mod">
          <ac:chgData name="Cano, Diana" userId="7ae0d054-aa41-4eb0-96b5-853a0c5af08d" providerId="ADAL" clId="{29D19F81-B072-4EA4-ACDE-1BA1815926FC}" dt="2024-05-09T12:52:06.572" v="46" actId="26606"/>
          <ac:picMkLst>
            <pc:docMk/>
            <pc:sldMk cId="747919819" sldId="321"/>
            <ac:picMk id="2" creationId="{9C85100D-8B89-B4B2-382C-B93A984636F3}"/>
          </ac:picMkLst>
        </pc:picChg>
      </pc:sldChg>
      <pc:sldChg chg="modSp mod modClrScheme chgLayout">
        <pc:chgData name="Cano, Diana" userId="7ae0d054-aa41-4eb0-96b5-853a0c5af08d" providerId="ADAL" clId="{29D19F81-B072-4EA4-ACDE-1BA1815926FC}" dt="2024-05-09T12:53:24.517" v="91" actId="1076"/>
        <pc:sldMkLst>
          <pc:docMk/>
          <pc:sldMk cId="1233398985" sldId="324"/>
        </pc:sldMkLst>
        <pc:spChg chg="mod ord">
          <ac:chgData name="Cano, Diana" userId="7ae0d054-aa41-4eb0-96b5-853a0c5af08d" providerId="ADAL" clId="{29D19F81-B072-4EA4-ACDE-1BA1815926FC}" dt="2024-05-09T12:53:15.646" v="90" actId="700"/>
          <ac:spMkLst>
            <pc:docMk/>
            <pc:sldMk cId="1233398985" sldId="324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2:53:24.517" v="91" actId="1076"/>
          <ac:spMkLst>
            <pc:docMk/>
            <pc:sldMk cId="1233398985" sldId="324"/>
            <ac:spMk id="3" creationId="{3485F4E9-86E7-473C-88D4-B224D829E5D4}"/>
          </ac:spMkLst>
        </pc:spChg>
        <pc:spChg chg="mod ord">
          <ac:chgData name="Cano, Diana" userId="7ae0d054-aa41-4eb0-96b5-853a0c5af08d" providerId="ADAL" clId="{29D19F81-B072-4EA4-ACDE-1BA1815926FC}" dt="2024-05-09T12:53:15.646" v="90" actId="700"/>
          <ac:spMkLst>
            <pc:docMk/>
            <pc:sldMk cId="1233398985" sldId="324"/>
            <ac:spMk id="4" creationId="{9B93952C-E6F5-4B3B-88F7-A70ED8AC2E12}"/>
          </ac:spMkLst>
        </pc:spChg>
      </pc:sldChg>
      <pc:sldChg chg="addSp delSp modSp mod modClrScheme chgLayout">
        <pc:chgData name="Cano, Diana" userId="7ae0d054-aa41-4eb0-96b5-853a0c5af08d" providerId="ADAL" clId="{29D19F81-B072-4EA4-ACDE-1BA1815926FC}" dt="2024-05-09T13:17:57.821" v="383" actId="20577"/>
        <pc:sldMkLst>
          <pc:docMk/>
          <pc:sldMk cId="1923790339" sldId="326"/>
        </pc:sldMkLst>
        <pc:spChg chg="mod ord">
          <ac:chgData name="Cano, Diana" userId="7ae0d054-aa41-4eb0-96b5-853a0c5af08d" providerId="ADAL" clId="{29D19F81-B072-4EA4-ACDE-1BA1815926FC}" dt="2024-05-09T12:52:51.042" v="50" actId="27636"/>
          <ac:spMkLst>
            <pc:docMk/>
            <pc:sldMk cId="1923790339" sldId="326"/>
            <ac:spMk id="2" creationId="{E196DB36-DC34-4F3B-8B50-AF2DAB5E98FE}"/>
          </ac:spMkLst>
        </pc:spChg>
        <pc:spChg chg="del">
          <ac:chgData name="Cano, Diana" userId="7ae0d054-aa41-4eb0-96b5-853a0c5af08d" providerId="ADAL" clId="{29D19F81-B072-4EA4-ACDE-1BA1815926FC}" dt="2024-05-09T12:53:07.385" v="89" actId="478"/>
          <ac:spMkLst>
            <pc:docMk/>
            <pc:sldMk cId="1923790339" sldId="326"/>
            <ac:spMk id="3" creationId="{360DE26C-A8AF-61AA-FDA2-AC06CAF72624}"/>
          </ac:spMkLst>
        </pc:spChg>
        <pc:spChg chg="add mod ord">
          <ac:chgData name="Cano, Diana" userId="7ae0d054-aa41-4eb0-96b5-853a0c5af08d" providerId="ADAL" clId="{29D19F81-B072-4EA4-ACDE-1BA1815926FC}" dt="2024-05-09T13:17:57.821" v="383" actId="20577"/>
          <ac:spMkLst>
            <pc:docMk/>
            <pc:sldMk cId="1923790339" sldId="326"/>
            <ac:spMk id="4" creationId="{88DACC50-C616-7916-58FA-A0ADBFDB5BFE}"/>
          </ac:spMkLst>
        </pc:spChg>
      </pc:sldChg>
      <pc:sldChg chg="addSp delSp modSp mod modClrScheme chgLayout">
        <pc:chgData name="Cano, Diana" userId="7ae0d054-aa41-4eb0-96b5-853a0c5af08d" providerId="ADAL" clId="{29D19F81-B072-4EA4-ACDE-1BA1815926FC}" dt="2024-05-09T12:58:05.331" v="106" actId="478"/>
        <pc:sldMkLst>
          <pc:docMk/>
          <pc:sldMk cId="3141150011" sldId="327"/>
        </pc:sldMkLst>
        <pc:spChg chg="mod ord">
          <ac:chgData name="Cano, Diana" userId="7ae0d054-aa41-4eb0-96b5-853a0c5af08d" providerId="ADAL" clId="{29D19F81-B072-4EA4-ACDE-1BA1815926FC}" dt="2024-05-09T12:58:01.328" v="105" actId="26606"/>
          <ac:spMkLst>
            <pc:docMk/>
            <pc:sldMk cId="3141150011" sldId="327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2:58:01.328" v="105" actId="26606"/>
          <ac:spMkLst>
            <pc:docMk/>
            <pc:sldMk cId="3141150011" sldId="327"/>
            <ac:spMk id="4" creationId="{9B93952C-E6F5-4B3B-88F7-A70ED8AC2E12}"/>
          </ac:spMkLst>
        </pc:spChg>
        <pc:spChg chg="add del mod ord">
          <ac:chgData name="Cano, Diana" userId="7ae0d054-aa41-4eb0-96b5-853a0c5af08d" providerId="ADAL" clId="{29D19F81-B072-4EA4-ACDE-1BA1815926FC}" dt="2024-05-09T12:58:05.331" v="106" actId="478"/>
          <ac:spMkLst>
            <pc:docMk/>
            <pc:sldMk cId="3141150011" sldId="327"/>
            <ac:spMk id="5" creationId="{4154F058-B74C-A182-909A-3BF0DD3B295F}"/>
          </ac:spMkLst>
        </pc:spChg>
        <pc:spChg chg="mod">
          <ac:chgData name="Cano, Diana" userId="7ae0d054-aa41-4eb0-96b5-853a0c5af08d" providerId="ADAL" clId="{29D19F81-B072-4EA4-ACDE-1BA1815926FC}" dt="2024-05-09T12:58:01.328" v="105" actId="26606"/>
          <ac:spMkLst>
            <pc:docMk/>
            <pc:sldMk cId="3141150011" sldId="327"/>
            <ac:spMk id="7" creationId="{26FA1FD3-B8C2-4D3F-AACF-930730839E1B}"/>
          </ac:spMkLst>
        </pc:spChg>
        <pc:spChg chg="add del mod">
          <ac:chgData name="Cano, Diana" userId="7ae0d054-aa41-4eb0-96b5-853a0c5af08d" providerId="ADAL" clId="{29D19F81-B072-4EA4-ACDE-1BA1815926FC}" dt="2024-05-09T12:57:55.345" v="103" actId="26606"/>
          <ac:spMkLst>
            <pc:docMk/>
            <pc:sldMk cId="3141150011" sldId="327"/>
            <ac:spMk id="12" creationId="{876AA3A6-D1CE-66D2-3D20-4D3851BF5B27}"/>
          </ac:spMkLst>
        </pc:spChg>
        <pc:picChg chg="mod">
          <ac:chgData name="Cano, Diana" userId="7ae0d054-aa41-4eb0-96b5-853a0c5af08d" providerId="ADAL" clId="{29D19F81-B072-4EA4-ACDE-1BA1815926FC}" dt="2024-05-09T12:58:01.328" v="105" actId="26606"/>
          <ac:picMkLst>
            <pc:docMk/>
            <pc:sldMk cId="3141150011" sldId="327"/>
            <ac:picMk id="3" creationId="{1C5850A6-A31C-ECFA-5455-F60D1EAB874D}"/>
          </ac:picMkLst>
        </pc:picChg>
      </pc:sldChg>
      <pc:sldChg chg="modSp mod modClrScheme chgLayout">
        <pc:chgData name="Cano, Diana" userId="7ae0d054-aa41-4eb0-96b5-853a0c5af08d" providerId="ADAL" clId="{29D19F81-B072-4EA4-ACDE-1BA1815926FC}" dt="2024-05-09T13:01:59.073" v="119" actId="26606"/>
        <pc:sldMkLst>
          <pc:docMk/>
          <pc:sldMk cId="307471866" sldId="328"/>
        </pc:sldMkLst>
        <pc:spChg chg="mod ord">
          <ac:chgData name="Cano, Diana" userId="7ae0d054-aa41-4eb0-96b5-853a0c5af08d" providerId="ADAL" clId="{29D19F81-B072-4EA4-ACDE-1BA1815926FC}" dt="2024-05-09T13:01:59.073" v="119" actId="26606"/>
          <ac:spMkLst>
            <pc:docMk/>
            <pc:sldMk cId="307471866" sldId="328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3:01:59.073" v="119" actId="26606"/>
          <ac:spMkLst>
            <pc:docMk/>
            <pc:sldMk cId="307471866" sldId="328"/>
            <ac:spMk id="3" creationId="{3485F4E9-86E7-473C-88D4-B224D829E5D4}"/>
          </ac:spMkLst>
        </pc:spChg>
        <pc:spChg chg="mod ord">
          <ac:chgData name="Cano, Diana" userId="7ae0d054-aa41-4eb0-96b5-853a0c5af08d" providerId="ADAL" clId="{29D19F81-B072-4EA4-ACDE-1BA1815926FC}" dt="2024-05-09T13:01:59.073" v="119" actId="26606"/>
          <ac:spMkLst>
            <pc:docMk/>
            <pc:sldMk cId="307471866" sldId="328"/>
            <ac:spMk id="4" creationId="{9B93952C-E6F5-4B3B-88F7-A70ED8AC2E12}"/>
          </ac:spMkLst>
        </pc:spChg>
        <pc:picChg chg="mod">
          <ac:chgData name="Cano, Diana" userId="7ae0d054-aa41-4eb0-96b5-853a0c5af08d" providerId="ADAL" clId="{29D19F81-B072-4EA4-ACDE-1BA1815926FC}" dt="2024-05-09T13:01:59.073" v="119" actId="26606"/>
          <ac:picMkLst>
            <pc:docMk/>
            <pc:sldMk cId="307471866" sldId="328"/>
            <ac:picMk id="6" creationId="{C6F17C26-8B90-4DFD-A9F2-32E6B6F7D2C6}"/>
          </ac:picMkLst>
        </pc:picChg>
      </pc:sldChg>
      <pc:sldChg chg="addSp delSp modSp mod modClrScheme chgLayout">
        <pc:chgData name="Cano, Diana" userId="7ae0d054-aa41-4eb0-96b5-853a0c5af08d" providerId="ADAL" clId="{29D19F81-B072-4EA4-ACDE-1BA1815926FC}" dt="2024-05-09T12:53:45.623" v="95" actId="27636"/>
        <pc:sldMkLst>
          <pc:docMk/>
          <pc:sldMk cId="3727183842" sldId="329"/>
        </pc:sldMkLst>
        <pc:spChg chg="mod ord">
          <ac:chgData name="Cano, Diana" userId="7ae0d054-aa41-4eb0-96b5-853a0c5af08d" providerId="ADAL" clId="{29D19F81-B072-4EA4-ACDE-1BA1815926FC}" dt="2024-05-09T12:53:45.607" v="94" actId="700"/>
          <ac:spMkLst>
            <pc:docMk/>
            <pc:sldMk cId="3727183842" sldId="329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2:53:45.623" v="95" actId="27636"/>
          <ac:spMkLst>
            <pc:docMk/>
            <pc:sldMk cId="3727183842" sldId="329"/>
            <ac:spMk id="3" creationId="{3485F4E9-86E7-473C-88D4-B224D829E5D4}"/>
          </ac:spMkLst>
        </pc:spChg>
        <pc:spChg chg="mod ord">
          <ac:chgData name="Cano, Diana" userId="7ae0d054-aa41-4eb0-96b5-853a0c5af08d" providerId="ADAL" clId="{29D19F81-B072-4EA4-ACDE-1BA1815926FC}" dt="2024-05-09T12:53:45.607" v="94" actId="700"/>
          <ac:spMkLst>
            <pc:docMk/>
            <pc:sldMk cId="3727183842" sldId="329"/>
            <ac:spMk id="4" creationId="{9B93952C-E6F5-4B3B-88F7-A70ED8AC2E12}"/>
          </ac:spMkLst>
        </pc:spChg>
        <pc:spChg chg="add del mod ord">
          <ac:chgData name="Cano, Diana" userId="7ae0d054-aa41-4eb0-96b5-853a0c5af08d" providerId="ADAL" clId="{29D19F81-B072-4EA4-ACDE-1BA1815926FC}" dt="2024-05-09T12:53:45.607" v="94" actId="700"/>
          <ac:spMkLst>
            <pc:docMk/>
            <pc:sldMk cId="3727183842" sldId="329"/>
            <ac:spMk id="5" creationId="{2F43E1A4-DDAB-87C8-C8A1-A14A8C2D97DF}"/>
          </ac:spMkLst>
        </pc:spChg>
      </pc:sldChg>
      <pc:sldChg chg="modSp mod modClrScheme chgLayout">
        <pc:chgData name="Cano, Diana" userId="7ae0d054-aa41-4eb0-96b5-853a0c5af08d" providerId="ADAL" clId="{29D19F81-B072-4EA4-ACDE-1BA1815926FC}" dt="2024-05-09T12:58:21.643" v="108" actId="700"/>
        <pc:sldMkLst>
          <pc:docMk/>
          <pc:sldMk cId="3533046681" sldId="330"/>
        </pc:sldMkLst>
        <pc:spChg chg="mod ord">
          <ac:chgData name="Cano, Diana" userId="7ae0d054-aa41-4eb0-96b5-853a0c5af08d" providerId="ADAL" clId="{29D19F81-B072-4EA4-ACDE-1BA1815926FC}" dt="2024-05-09T12:58:21.643" v="108" actId="700"/>
          <ac:spMkLst>
            <pc:docMk/>
            <pc:sldMk cId="3533046681" sldId="330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2:58:21.643" v="108" actId="700"/>
          <ac:spMkLst>
            <pc:docMk/>
            <pc:sldMk cId="3533046681" sldId="330"/>
            <ac:spMk id="3" creationId="{3485F4E9-86E7-473C-88D4-B224D829E5D4}"/>
          </ac:spMkLst>
        </pc:spChg>
        <pc:spChg chg="mod ord">
          <ac:chgData name="Cano, Diana" userId="7ae0d054-aa41-4eb0-96b5-853a0c5af08d" providerId="ADAL" clId="{29D19F81-B072-4EA4-ACDE-1BA1815926FC}" dt="2024-05-09T12:58:21.643" v="108" actId="700"/>
          <ac:spMkLst>
            <pc:docMk/>
            <pc:sldMk cId="3533046681" sldId="330"/>
            <ac:spMk id="4" creationId="{9B93952C-E6F5-4B3B-88F7-A70ED8AC2E12}"/>
          </ac:spMkLst>
        </pc:spChg>
      </pc:sldChg>
      <pc:sldChg chg="modSp mod modClrScheme chgLayout">
        <pc:chgData name="Cano, Diana" userId="7ae0d054-aa41-4eb0-96b5-853a0c5af08d" providerId="ADAL" clId="{29D19F81-B072-4EA4-ACDE-1BA1815926FC}" dt="2024-05-09T13:03:35.737" v="133" actId="26606"/>
        <pc:sldMkLst>
          <pc:docMk/>
          <pc:sldMk cId="1389647013" sldId="331"/>
        </pc:sldMkLst>
        <pc:spChg chg="mod ord">
          <ac:chgData name="Cano, Diana" userId="7ae0d054-aa41-4eb0-96b5-853a0c5af08d" providerId="ADAL" clId="{29D19F81-B072-4EA4-ACDE-1BA1815926FC}" dt="2024-05-09T13:03:35.737" v="133" actId="26606"/>
          <ac:spMkLst>
            <pc:docMk/>
            <pc:sldMk cId="1389647013" sldId="331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3:03:35.737" v="133" actId="26606"/>
          <ac:spMkLst>
            <pc:docMk/>
            <pc:sldMk cId="1389647013" sldId="331"/>
            <ac:spMk id="3" creationId="{3485F4E9-86E7-473C-88D4-B224D829E5D4}"/>
          </ac:spMkLst>
        </pc:spChg>
        <pc:spChg chg="mod ord">
          <ac:chgData name="Cano, Diana" userId="7ae0d054-aa41-4eb0-96b5-853a0c5af08d" providerId="ADAL" clId="{29D19F81-B072-4EA4-ACDE-1BA1815926FC}" dt="2024-05-09T13:03:35.737" v="133" actId="26606"/>
          <ac:spMkLst>
            <pc:docMk/>
            <pc:sldMk cId="1389647013" sldId="331"/>
            <ac:spMk id="4" creationId="{9B93952C-E6F5-4B3B-88F7-A70ED8AC2E12}"/>
          </ac:spMkLst>
        </pc:spChg>
        <pc:picChg chg="mod">
          <ac:chgData name="Cano, Diana" userId="7ae0d054-aa41-4eb0-96b5-853a0c5af08d" providerId="ADAL" clId="{29D19F81-B072-4EA4-ACDE-1BA1815926FC}" dt="2024-05-09T13:03:35.737" v="133" actId="26606"/>
          <ac:picMkLst>
            <pc:docMk/>
            <pc:sldMk cId="1389647013" sldId="331"/>
            <ac:picMk id="6" creationId="{7FCBB541-B5FD-4EE1-B217-E227E1412AB4}"/>
          </ac:picMkLst>
        </pc:picChg>
      </pc:sldChg>
      <pc:sldChg chg="addSp delSp modSp mod modClrScheme chgLayout">
        <pc:chgData name="Cano, Diana" userId="7ae0d054-aa41-4eb0-96b5-853a0c5af08d" providerId="ADAL" clId="{29D19F81-B072-4EA4-ACDE-1BA1815926FC}" dt="2024-05-09T12:57:03.033" v="97" actId="26606"/>
        <pc:sldMkLst>
          <pc:docMk/>
          <pc:sldMk cId="3552869892" sldId="332"/>
        </pc:sldMkLst>
        <pc:spChg chg="mod ord">
          <ac:chgData name="Cano, Diana" userId="7ae0d054-aa41-4eb0-96b5-853a0c5af08d" providerId="ADAL" clId="{29D19F81-B072-4EA4-ACDE-1BA1815926FC}" dt="2024-05-09T12:57:03.033" v="97" actId="26606"/>
          <ac:spMkLst>
            <pc:docMk/>
            <pc:sldMk cId="3552869892" sldId="332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2:57:03.033" v="97" actId="26606"/>
          <ac:spMkLst>
            <pc:docMk/>
            <pc:sldMk cId="3552869892" sldId="332"/>
            <ac:spMk id="3" creationId="{3485F4E9-86E7-473C-88D4-B224D829E5D4}"/>
          </ac:spMkLst>
        </pc:spChg>
        <pc:spChg chg="mod ord">
          <ac:chgData name="Cano, Diana" userId="7ae0d054-aa41-4eb0-96b5-853a0c5af08d" providerId="ADAL" clId="{29D19F81-B072-4EA4-ACDE-1BA1815926FC}" dt="2024-05-09T12:57:03.033" v="97" actId="26606"/>
          <ac:spMkLst>
            <pc:docMk/>
            <pc:sldMk cId="3552869892" sldId="332"/>
            <ac:spMk id="4" creationId="{9B93952C-E6F5-4B3B-88F7-A70ED8AC2E12}"/>
          </ac:spMkLst>
        </pc:spChg>
        <pc:spChg chg="add del mod ord">
          <ac:chgData name="Cano, Diana" userId="7ae0d054-aa41-4eb0-96b5-853a0c5af08d" providerId="ADAL" clId="{29D19F81-B072-4EA4-ACDE-1BA1815926FC}" dt="2024-05-09T12:57:03.033" v="97" actId="26606"/>
          <ac:spMkLst>
            <pc:docMk/>
            <pc:sldMk cId="3552869892" sldId="332"/>
            <ac:spMk id="5" creationId="{9A28FEC1-00F1-C0D9-4607-E25079A0E2F0}"/>
          </ac:spMkLst>
        </pc:spChg>
        <pc:picChg chg="mod">
          <ac:chgData name="Cano, Diana" userId="7ae0d054-aa41-4eb0-96b5-853a0c5af08d" providerId="ADAL" clId="{29D19F81-B072-4EA4-ACDE-1BA1815926FC}" dt="2024-05-09T12:57:03.033" v="97" actId="26606"/>
          <ac:picMkLst>
            <pc:docMk/>
            <pc:sldMk cId="3552869892" sldId="332"/>
            <ac:picMk id="10" creationId="{579318B3-400C-4C82-BFD0-40352718203D}"/>
          </ac:picMkLst>
        </pc:picChg>
      </pc:sldChg>
      <pc:sldChg chg="addSp delSp modSp mod modClrScheme chgLayout">
        <pc:chgData name="Cano, Diana" userId="7ae0d054-aa41-4eb0-96b5-853a0c5af08d" providerId="ADAL" clId="{29D19F81-B072-4EA4-ACDE-1BA1815926FC}" dt="2024-05-09T12:58:58.704" v="116" actId="478"/>
        <pc:sldMkLst>
          <pc:docMk/>
          <pc:sldMk cId="1080169126" sldId="333"/>
        </pc:sldMkLst>
        <pc:spChg chg="mod ord">
          <ac:chgData name="Cano, Diana" userId="7ae0d054-aa41-4eb0-96b5-853a0c5af08d" providerId="ADAL" clId="{29D19F81-B072-4EA4-ACDE-1BA1815926FC}" dt="2024-05-09T12:58:54.900" v="115" actId="27636"/>
          <ac:spMkLst>
            <pc:docMk/>
            <pc:sldMk cId="1080169126" sldId="333"/>
            <ac:spMk id="2" creationId="{E196DB36-DC34-4F3B-8B50-AF2DAB5E98FE}"/>
          </ac:spMkLst>
        </pc:spChg>
        <pc:spChg chg="add del mod ord">
          <ac:chgData name="Cano, Diana" userId="7ae0d054-aa41-4eb0-96b5-853a0c5af08d" providerId="ADAL" clId="{29D19F81-B072-4EA4-ACDE-1BA1815926FC}" dt="2024-05-09T12:58:58.704" v="116" actId="478"/>
          <ac:spMkLst>
            <pc:docMk/>
            <pc:sldMk cId="1080169126" sldId="333"/>
            <ac:spMk id="3" creationId="{CA244666-95AF-C345-13A5-58054C7E09B5}"/>
          </ac:spMkLst>
        </pc:spChg>
      </pc:sldChg>
      <pc:sldChg chg="addSp delSp modSp mod modClrScheme chgLayout">
        <pc:chgData name="Cano, Diana" userId="7ae0d054-aa41-4eb0-96b5-853a0c5af08d" providerId="ADAL" clId="{29D19F81-B072-4EA4-ACDE-1BA1815926FC}" dt="2024-05-09T13:04:06.379" v="138" actId="700"/>
        <pc:sldMkLst>
          <pc:docMk/>
          <pc:sldMk cId="1251937012" sldId="334"/>
        </pc:sldMkLst>
        <pc:spChg chg="add del mod ord">
          <ac:chgData name="Cano, Diana" userId="7ae0d054-aa41-4eb0-96b5-853a0c5af08d" providerId="ADAL" clId="{29D19F81-B072-4EA4-ACDE-1BA1815926FC}" dt="2024-05-09T13:04:06.379" v="138" actId="700"/>
          <ac:spMkLst>
            <pc:docMk/>
            <pc:sldMk cId="1251937012" sldId="334"/>
            <ac:spMk id="2" creationId="{0456106F-4332-19E4-8529-FD7682958285}"/>
          </ac:spMkLst>
        </pc:spChg>
        <pc:spChg chg="mod ord">
          <ac:chgData name="Cano, Diana" userId="7ae0d054-aa41-4eb0-96b5-853a0c5af08d" providerId="ADAL" clId="{29D19F81-B072-4EA4-ACDE-1BA1815926FC}" dt="2024-05-09T13:04:06.379" v="138" actId="700"/>
          <ac:spMkLst>
            <pc:docMk/>
            <pc:sldMk cId="1251937012" sldId="334"/>
            <ac:spMk id="12" creationId="{B8EB387F-0265-18AB-D6B0-66E59BED68CF}"/>
          </ac:spMkLst>
        </pc:spChg>
        <pc:spChg chg="mod ord">
          <ac:chgData name="Cano, Diana" userId="7ae0d054-aa41-4eb0-96b5-853a0c5af08d" providerId="ADAL" clId="{29D19F81-B072-4EA4-ACDE-1BA1815926FC}" dt="2024-05-09T13:04:06.379" v="138" actId="700"/>
          <ac:spMkLst>
            <pc:docMk/>
            <pc:sldMk cId="1251937012" sldId="334"/>
            <ac:spMk id="14" creationId="{9EE03F1D-C066-18D4-3B8E-E845E5D7BA68}"/>
          </ac:spMkLst>
        </pc:spChg>
        <pc:spChg chg="mod ord">
          <ac:chgData name="Cano, Diana" userId="7ae0d054-aa41-4eb0-96b5-853a0c5af08d" providerId="ADAL" clId="{29D19F81-B072-4EA4-ACDE-1BA1815926FC}" dt="2024-05-09T13:04:06.379" v="138" actId="700"/>
          <ac:spMkLst>
            <pc:docMk/>
            <pc:sldMk cId="1251937012" sldId="334"/>
            <ac:spMk id="16" creationId="{3ED42E69-4B50-9376-BDDF-90CCBA102B77}"/>
          </ac:spMkLst>
        </pc:spChg>
      </pc:sldChg>
      <pc:sldChg chg="modSp mod modClrScheme chgLayout">
        <pc:chgData name="Cano, Diana" userId="7ae0d054-aa41-4eb0-96b5-853a0c5af08d" providerId="ADAL" clId="{29D19F81-B072-4EA4-ACDE-1BA1815926FC}" dt="2024-05-09T12:59:05.612" v="117" actId="700"/>
        <pc:sldMkLst>
          <pc:docMk/>
          <pc:sldMk cId="2214578234" sldId="335"/>
        </pc:sldMkLst>
        <pc:spChg chg="mod ord">
          <ac:chgData name="Cano, Diana" userId="7ae0d054-aa41-4eb0-96b5-853a0c5af08d" providerId="ADAL" clId="{29D19F81-B072-4EA4-ACDE-1BA1815926FC}" dt="2024-05-09T12:59:05.612" v="117" actId="700"/>
          <ac:spMkLst>
            <pc:docMk/>
            <pc:sldMk cId="2214578234" sldId="335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2:59:05.612" v="117" actId="700"/>
          <ac:spMkLst>
            <pc:docMk/>
            <pc:sldMk cId="2214578234" sldId="335"/>
            <ac:spMk id="3" creationId="{3485F4E9-86E7-473C-88D4-B224D829E5D4}"/>
          </ac:spMkLst>
        </pc:spChg>
        <pc:spChg chg="mod ord">
          <ac:chgData name="Cano, Diana" userId="7ae0d054-aa41-4eb0-96b5-853a0c5af08d" providerId="ADAL" clId="{29D19F81-B072-4EA4-ACDE-1BA1815926FC}" dt="2024-05-09T12:59:05.612" v="117" actId="700"/>
          <ac:spMkLst>
            <pc:docMk/>
            <pc:sldMk cId="2214578234" sldId="335"/>
            <ac:spMk id="4" creationId="{9B93952C-E6F5-4B3B-88F7-A70ED8AC2E12}"/>
          </ac:spMkLst>
        </pc:spChg>
      </pc:sldChg>
      <pc:sldChg chg="modSp mod modClrScheme chgLayout">
        <pc:chgData name="Cano, Diana" userId="7ae0d054-aa41-4eb0-96b5-853a0c5af08d" providerId="ADAL" clId="{29D19F81-B072-4EA4-ACDE-1BA1815926FC}" dt="2024-05-09T13:02:47.301" v="127" actId="1076"/>
        <pc:sldMkLst>
          <pc:docMk/>
          <pc:sldMk cId="1471948642" sldId="336"/>
        </pc:sldMkLst>
        <pc:spChg chg="mod ord">
          <ac:chgData name="Cano, Diana" userId="7ae0d054-aa41-4eb0-96b5-853a0c5af08d" providerId="ADAL" clId="{29D19F81-B072-4EA4-ACDE-1BA1815926FC}" dt="2024-05-09T13:02:40.482" v="126" actId="700"/>
          <ac:spMkLst>
            <pc:docMk/>
            <pc:sldMk cId="1471948642" sldId="336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3:02:47.301" v="127" actId="1076"/>
          <ac:spMkLst>
            <pc:docMk/>
            <pc:sldMk cId="1471948642" sldId="336"/>
            <ac:spMk id="3" creationId="{3485F4E9-86E7-473C-88D4-B224D829E5D4}"/>
          </ac:spMkLst>
        </pc:spChg>
        <pc:spChg chg="mod ord">
          <ac:chgData name="Cano, Diana" userId="7ae0d054-aa41-4eb0-96b5-853a0c5af08d" providerId="ADAL" clId="{29D19F81-B072-4EA4-ACDE-1BA1815926FC}" dt="2024-05-09T13:02:40.482" v="126" actId="700"/>
          <ac:spMkLst>
            <pc:docMk/>
            <pc:sldMk cId="1471948642" sldId="336"/>
            <ac:spMk id="4" creationId="{9B93952C-E6F5-4B3B-88F7-A70ED8AC2E12}"/>
          </ac:spMkLst>
        </pc:spChg>
      </pc:sldChg>
      <pc:sldChg chg="addSp delSp modSp mod modClrScheme chgLayout">
        <pc:chgData name="Cano, Diana" userId="7ae0d054-aa41-4eb0-96b5-853a0c5af08d" providerId="ADAL" clId="{29D19F81-B072-4EA4-ACDE-1BA1815926FC}" dt="2024-05-09T13:02:26.960" v="125" actId="1076"/>
        <pc:sldMkLst>
          <pc:docMk/>
          <pc:sldMk cId="1313054203" sldId="337"/>
        </pc:sldMkLst>
        <pc:spChg chg="mod ord">
          <ac:chgData name="Cano, Diana" userId="7ae0d054-aa41-4eb0-96b5-853a0c5af08d" providerId="ADAL" clId="{29D19F81-B072-4EA4-ACDE-1BA1815926FC}" dt="2024-05-09T13:02:20.416" v="123" actId="700"/>
          <ac:spMkLst>
            <pc:docMk/>
            <pc:sldMk cId="1313054203" sldId="337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3:02:26.960" v="125" actId="1076"/>
          <ac:spMkLst>
            <pc:docMk/>
            <pc:sldMk cId="1313054203" sldId="337"/>
            <ac:spMk id="3" creationId="{3485F4E9-86E7-473C-88D4-B224D829E5D4}"/>
          </ac:spMkLst>
        </pc:spChg>
        <pc:spChg chg="mod ord">
          <ac:chgData name="Cano, Diana" userId="7ae0d054-aa41-4eb0-96b5-853a0c5af08d" providerId="ADAL" clId="{29D19F81-B072-4EA4-ACDE-1BA1815926FC}" dt="2024-05-09T13:02:20.416" v="123" actId="700"/>
          <ac:spMkLst>
            <pc:docMk/>
            <pc:sldMk cId="1313054203" sldId="337"/>
            <ac:spMk id="4" creationId="{9B93952C-E6F5-4B3B-88F7-A70ED8AC2E12}"/>
          </ac:spMkLst>
        </pc:spChg>
        <pc:spChg chg="add del mod ord">
          <ac:chgData name="Cano, Diana" userId="7ae0d054-aa41-4eb0-96b5-853a0c5af08d" providerId="ADAL" clId="{29D19F81-B072-4EA4-ACDE-1BA1815926FC}" dt="2024-05-09T13:02:20.416" v="123" actId="700"/>
          <ac:spMkLst>
            <pc:docMk/>
            <pc:sldMk cId="1313054203" sldId="337"/>
            <ac:spMk id="5" creationId="{51FB205E-8F64-696D-3315-7D6038E3DFCC}"/>
          </ac:spMkLst>
        </pc:spChg>
      </pc:sldChg>
      <pc:sldChg chg="modSp mod modClrScheme chgLayout">
        <pc:chgData name="Cano, Diana" userId="7ae0d054-aa41-4eb0-96b5-853a0c5af08d" providerId="ADAL" clId="{29D19F81-B072-4EA4-ACDE-1BA1815926FC}" dt="2024-05-09T13:03:15.038" v="128" actId="700"/>
        <pc:sldMkLst>
          <pc:docMk/>
          <pc:sldMk cId="3346102179" sldId="338"/>
        </pc:sldMkLst>
        <pc:spChg chg="mod ord">
          <ac:chgData name="Cano, Diana" userId="7ae0d054-aa41-4eb0-96b5-853a0c5af08d" providerId="ADAL" clId="{29D19F81-B072-4EA4-ACDE-1BA1815926FC}" dt="2024-05-09T13:03:15.038" v="128" actId="700"/>
          <ac:spMkLst>
            <pc:docMk/>
            <pc:sldMk cId="3346102179" sldId="338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3:03:15.038" v="128" actId="700"/>
          <ac:spMkLst>
            <pc:docMk/>
            <pc:sldMk cId="3346102179" sldId="338"/>
            <ac:spMk id="3" creationId="{3485F4E9-86E7-473C-88D4-B224D829E5D4}"/>
          </ac:spMkLst>
        </pc:spChg>
        <pc:spChg chg="mod ord">
          <ac:chgData name="Cano, Diana" userId="7ae0d054-aa41-4eb0-96b5-853a0c5af08d" providerId="ADAL" clId="{29D19F81-B072-4EA4-ACDE-1BA1815926FC}" dt="2024-05-09T13:03:15.038" v="128" actId="700"/>
          <ac:spMkLst>
            <pc:docMk/>
            <pc:sldMk cId="3346102179" sldId="338"/>
            <ac:spMk id="4" creationId="{9B93952C-E6F5-4B3B-88F7-A70ED8AC2E12}"/>
          </ac:spMkLst>
        </pc:spChg>
      </pc:sldChg>
      <pc:sldChg chg="addSp delSp modSp mod modClrScheme chgLayout">
        <pc:chgData name="Cano, Diana" userId="7ae0d054-aa41-4eb0-96b5-853a0c5af08d" providerId="ADAL" clId="{29D19F81-B072-4EA4-ACDE-1BA1815926FC}" dt="2024-05-09T13:03:25.814" v="131" actId="478"/>
        <pc:sldMkLst>
          <pc:docMk/>
          <pc:sldMk cId="3525843703" sldId="339"/>
        </pc:sldMkLst>
        <pc:spChg chg="mod ord">
          <ac:chgData name="Cano, Diana" userId="7ae0d054-aa41-4eb0-96b5-853a0c5af08d" providerId="ADAL" clId="{29D19F81-B072-4EA4-ACDE-1BA1815926FC}" dt="2024-05-09T13:03:23.112" v="130" actId="27636"/>
          <ac:spMkLst>
            <pc:docMk/>
            <pc:sldMk cId="3525843703" sldId="339"/>
            <ac:spMk id="2" creationId="{E196DB36-DC34-4F3B-8B50-AF2DAB5E98FE}"/>
          </ac:spMkLst>
        </pc:spChg>
        <pc:spChg chg="add del mod ord">
          <ac:chgData name="Cano, Diana" userId="7ae0d054-aa41-4eb0-96b5-853a0c5af08d" providerId="ADAL" clId="{29D19F81-B072-4EA4-ACDE-1BA1815926FC}" dt="2024-05-09T13:03:25.814" v="131" actId="478"/>
          <ac:spMkLst>
            <pc:docMk/>
            <pc:sldMk cId="3525843703" sldId="339"/>
            <ac:spMk id="3" creationId="{8A41BC0E-13F6-3F80-BDBC-208CEC5D13FA}"/>
          </ac:spMkLst>
        </pc:spChg>
      </pc:sldChg>
      <pc:sldChg chg="addSp delSp modSp mod modClrScheme chgLayout">
        <pc:chgData name="Cano, Diana" userId="7ae0d054-aa41-4eb0-96b5-853a0c5af08d" providerId="ADAL" clId="{29D19F81-B072-4EA4-ACDE-1BA1815926FC}" dt="2024-05-09T13:03:53.957" v="136" actId="1076"/>
        <pc:sldMkLst>
          <pc:docMk/>
          <pc:sldMk cId="726057025" sldId="340"/>
        </pc:sldMkLst>
        <pc:spChg chg="mod ord">
          <ac:chgData name="Cano, Diana" userId="7ae0d054-aa41-4eb0-96b5-853a0c5af08d" providerId="ADAL" clId="{29D19F81-B072-4EA4-ACDE-1BA1815926FC}" dt="2024-05-09T13:03:46.435" v="135" actId="700"/>
          <ac:spMkLst>
            <pc:docMk/>
            <pc:sldMk cId="726057025" sldId="340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3:03:46.435" v="135" actId="700"/>
          <ac:spMkLst>
            <pc:docMk/>
            <pc:sldMk cId="726057025" sldId="340"/>
            <ac:spMk id="3" creationId="{3485F4E9-86E7-473C-88D4-B224D829E5D4}"/>
          </ac:spMkLst>
        </pc:spChg>
        <pc:spChg chg="mod ord">
          <ac:chgData name="Cano, Diana" userId="7ae0d054-aa41-4eb0-96b5-853a0c5af08d" providerId="ADAL" clId="{29D19F81-B072-4EA4-ACDE-1BA1815926FC}" dt="2024-05-09T13:03:46.435" v="135" actId="700"/>
          <ac:spMkLst>
            <pc:docMk/>
            <pc:sldMk cId="726057025" sldId="340"/>
            <ac:spMk id="4" creationId="{9B93952C-E6F5-4B3B-88F7-A70ED8AC2E12}"/>
          </ac:spMkLst>
        </pc:spChg>
        <pc:spChg chg="add del mod ord">
          <ac:chgData name="Cano, Diana" userId="7ae0d054-aa41-4eb0-96b5-853a0c5af08d" providerId="ADAL" clId="{29D19F81-B072-4EA4-ACDE-1BA1815926FC}" dt="2024-05-09T13:03:46.435" v="135" actId="700"/>
          <ac:spMkLst>
            <pc:docMk/>
            <pc:sldMk cId="726057025" sldId="340"/>
            <ac:spMk id="5" creationId="{BBDCC07F-8F99-17BF-3707-80A748B99C79}"/>
          </ac:spMkLst>
        </pc:spChg>
        <pc:picChg chg="mod">
          <ac:chgData name="Cano, Diana" userId="7ae0d054-aa41-4eb0-96b5-853a0c5af08d" providerId="ADAL" clId="{29D19F81-B072-4EA4-ACDE-1BA1815926FC}" dt="2024-05-09T13:03:53.957" v="136" actId="1076"/>
          <ac:picMkLst>
            <pc:docMk/>
            <pc:sldMk cId="726057025" sldId="340"/>
            <ac:picMk id="6" creationId="{7FCBB541-B5FD-4EE1-B217-E227E1412AB4}"/>
          </ac:picMkLst>
        </pc:picChg>
      </pc:sldChg>
      <pc:sldChg chg="modSp mod modClrScheme chgLayout">
        <pc:chgData name="Cano, Diana" userId="7ae0d054-aa41-4eb0-96b5-853a0c5af08d" providerId="ADAL" clId="{29D19F81-B072-4EA4-ACDE-1BA1815926FC}" dt="2024-05-09T13:04:20.065" v="140" actId="26606"/>
        <pc:sldMkLst>
          <pc:docMk/>
          <pc:sldMk cId="4256360642" sldId="341"/>
        </pc:sldMkLst>
        <pc:spChg chg="mod ord">
          <ac:chgData name="Cano, Diana" userId="7ae0d054-aa41-4eb0-96b5-853a0c5af08d" providerId="ADAL" clId="{29D19F81-B072-4EA4-ACDE-1BA1815926FC}" dt="2024-05-09T13:04:20.065" v="140" actId="26606"/>
          <ac:spMkLst>
            <pc:docMk/>
            <pc:sldMk cId="4256360642" sldId="341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3:04:20.065" v="140" actId="26606"/>
          <ac:spMkLst>
            <pc:docMk/>
            <pc:sldMk cId="4256360642" sldId="341"/>
            <ac:spMk id="3" creationId="{3485F4E9-86E7-473C-88D4-B224D829E5D4}"/>
          </ac:spMkLst>
        </pc:spChg>
        <pc:spChg chg="mod ord">
          <ac:chgData name="Cano, Diana" userId="7ae0d054-aa41-4eb0-96b5-853a0c5af08d" providerId="ADAL" clId="{29D19F81-B072-4EA4-ACDE-1BA1815926FC}" dt="2024-05-09T13:04:20.065" v="140" actId="26606"/>
          <ac:spMkLst>
            <pc:docMk/>
            <pc:sldMk cId="4256360642" sldId="341"/>
            <ac:spMk id="4" creationId="{9B93952C-E6F5-4B3B-88F7-A70ED8AC2E12}"/>
          </ac:spMkLst>
        </pc:spChg>
        <pc:picChg chg="mod">
          <ac:chgData name="Cano, Diana" userId="7ae0d054-aa41-4eb0-96b5-853a0c5af08d" providerId="ADAL" clId="{29D19F81-B072-4EA4-ACDE-1BA1815926FC}" dt="2024-05-09T13:04:20.065" v="140" actId="26606"/>
          <ac:picMkLst>
            <pc:docMk/>
            <pc:sldMk cId="4256360642" sldId="341"/>
            <ac:picMk id="7" creationId="{F65A50F4-5DCE-48E7-9019-96C9197D4049}"/>
          </ac:picMkLst>
        </pc:picChg>
      </pc:sldChg>
      <pc:sldChg chg="modSp mod modClrScheme chgLayout">
        <pc:chgData name="Cano, Diana" userId="7ae0d054-aa41-4eb0-96b5-853a0c5af08d" providerId="ADAL" clId="{29D19F81-B072-4EA4-ACDE-1BA1815926FC}" dt="2024-05-09T13:08:52.212" v="184" actId="1076"/>
        <pc:sldMkLst>
          <pc:docMk/>
          <pc:sldMk cId="3489252185" sldId="342"/>
        </pc:sldMkLst>
        <pc:spChg chg="mod ord">
          <ac:chgData name="Cano, Diana" userId="7ae0d054-aa41-4eb0-96b5-853a0c5af08d" providerId="ADAL" clId="{29D19F81-B072-4EA4-ACDE-1BA1815926FC}" dt="2024-05-09T13:08:47.960" v="183" actId="700"/>
          <ac:spMkLst>
            <pc:docMk/>
            <pc:sldMk cId="3489252185" sldId="342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3:08:47.960" v="183" actId="700"/>
          <ac:spMkLst>
            <pc:docMk/>
            <pc:sldMk cId="3489252185" sldId="342"/>
            <ac:spMk id="3" creationId="{3485F4E9-86E7-473C-88D4-B224D829E5D4}"/>
          </ac:spMkLst>
        </pc:spChg>
        <pc:spChg chg="mod ord">
          <ac:chgData name="Cano, Diana" userId="7ae0d054-aa41-4eb0-96b5-853a0c5af08d" providerId="ADAL" clId="{29D19F81-B072-4EA4-ACDE-1BA1815926FC}" dt="2024-05-09T13:08:47.960" v="183" actId="700"/>
          <ac:spMkLst>
            <pc:docMk/>
            <pc:sldMk cId="3489252185" sldId="342"/>
            <ac:spMk id="4" creationId="{9B93952C-E6F5-4B3B-88F7-A70ED8AC2E12}"/>
          </ac:spMkLst>
        </pc:spChg>
        <pc:picChg chg="mod">
          <ac:chgData name="Cano, Diana" userId="7ae0d054-aa41-4eb0-96b5-853a0c5af08d" providerId="ADAL" clId="{29D19F81-B072-4EA4-ACDE-1BA1815926FC}" dt="2024-05-09T13:08:52.212" v="184" actId="1076"/>
          <ac:picMkLst>
            <pc:docMk/>
            <pc:sldMk cId="3489252185" sldId="342"/>
            <ac:picMk id="6" creationId="{0F8ECA11-448C-4D1E-BEC5-E16BCC401161}"/>
          </ac:picMkLst>
        </pc:picChg>
      </pc:sldChg>
      <pc:sldChg chg="modSp mod modClrScheme chgLayout">
        <pc:chgData name="Cano, Diana" userId="7ae0d054-aa41-4eb0-96b5-853a0c5af08d" providerId="ADAL" clId="{29D19F81-B072-4EA4-ACDE-1BA1815926FC}" dt="2024-05-09T13:05:13.865" v="141" actId="700"/>
        <pc:sldMkLst>
          <pc:docMk/>
          <pc:sldMk cId="3370816281" sldId="343"/>
        </pc:sldMkLst>
        <pc:spChg chg="mod ord">
          <ac:chgData name="Cano, Diana" userId="7ae0d054-aa41-4eb0-96b5-853a0c5af08d" providerId="ADAL" clId="{29D19F81-B072-4EA4-ACDE-1BA1815926FC}" dt="2024-05-09T13:05:13.865" v="141" actId="700"/>
          <ac:spMkLst>
            <pc:docMk/>
            <pc:sldMk cId="3370816281" sldId="343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3:05:13.865" v="141" actId="700"/>
          <ac:spMkLst>
            <pc:docMk/>
            <pc:sldMk cId="3370816281" sldId="343"/>
            <ac:spMk id="3" creationId="{3485F4E9-86E7-473C-88D4-B224D829E5D4}"/>
          </ac:spMkLst>
        </pc:spChg>
        <pc:spChg chg="mod ord">
          <ac:chgData name="Cano, Diana" userId="7ae0d054-aa41-4eb0-96b5-853a0c5af08d" providerId="ADAL" clId="{29D19F81-B072-4EA4-ACDE-1BA1815926FC}" dt="2024-05-09T13:05:13.865" v="141" actId="700"/>
          <ac:spMkLst>
            <pc:docMk/>
            <pc:sldMk cId="3370816281" sldId="343"/>
            <ac:spMk id="4" creationId="{9B93952C-E6F5-4B3B-88F7-A70ED8AC2E12}"/>
          </ac:spMkLst>
        </pc:spChg>
      </pc:sldChg>
      <pc:sldChg chg="addSp delSp modSp mod modClrScheme chgLayout">
        <pc:chgData name="Cano, Diana" userId="7ae0d054-aa41-4eb0-96b5-853a0c5af08d" providerId="ADAL" clId="{29D19F81-B072-4EA4-ACDE-1BA1815926FC}" dt="2024-05-09T13:08:43.069" v="182" actId="478"/>
        <pc:sldMkLst>
          <pc:docMk/>
          <pc:sldMk cId="2268727429" sldId="344"/>
        </pc:sldMkLst>
        <pc:spChg chg="mod ord">
          <ac:chgData name="Cano, Diana" userId="7ae0d054-aa41-4eb0-96b5-853a0c5af08d" providerId="ADAL" clId="{29D19F81-B072-4EA4-ACDE-1BA1815926FC}" dt="2024-05-09T13:08:40.981" v="181" actId="27636"/>
          <ac:spMkLst>
            <pc:docMk/>
            <pc:sldMk cId="2268727429" sldId="344"/>
            <ac:spMk id="2" creationId="{E196DB36-DC34-4F3B-8B50-AF2DAB5E98FE}"/>
          </ac:spMkLst>
        </pc:spChg>
        <pc:spChg chg="add del mod ord">
          <ac:chgData name="Cano, Diana" userId="7ae0d054-aa41-4eb0-96b5-853a0c5af08d" providerId="ADAL" clId="{29D19F81-B072-4EA4-ACDE-1BA1815926FC}" dt="2024-05-09T13:08:43.069" v="182" actId="478"/>
          <ac:spMkLst>
            <pc:docMk/>
            <pc:sldMk cId="2268727429" sldId="344"/>
            <ac:spMk id="3" creationId="{872D47C0-090B-C0CC-160D-3F31DF1E2552}"/>
          </ac:spMkLst>
        </pc:spChg>
      </pc:sldChg>
      <pc:sldChg chg="modSp mod modClrScheme chgLayout">
        <pc:chgData name="Cano, Diana" userId="7ae0d054-aa41-4eb0-96b5-853a0c5af08d" providerId="ADAL" clId="{29D19F81-B072-4EA4-ACDE-1BA1815926FC}" dt="2024-05-09T13:12:31.796" v="202" actId="1076"/>
        <pc:sldMkLst>
          <pc:docMk/>
          <pc:sldMk cId="31002084" sldId="346"/>
        </pc:sldMkLst>
        <pc:spChg chg="mod ord">
          <ac:chgData name="Cano, Diana" userId="7ae0d054-aa41-4eb0-96b5-853a0c5af08d" providerId="ADAL" clId="{29D19F81-B072-4EA4-ACDE-1BA1815926FC}" dt="2024-05-09T13:12:21.163" v="199" actId="700"/>
          <ac:spMkLst>
            <pc:docMk/>
            <pc:sldMk cId="31002084" sldId="346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3:12:21.163" v="199" actId="700"/>
          <ac:spMkLst>
            <pc:docMk/>
            <pc:sldMk cId="31002084" sldId="346"/>
            <ac:spMk id="4" creationId="{9B93952C-E6F5-4B3B-88F7-A70ED8AC2E12}"/>
          </ac:spMkLst>
        </pc:spChg>
        <pc:spChg chg="mod ord">
          <ac:chgData name="Cano, Diana" userId="7ae0d054-aa41-4eb0-96b5-853a0c5af08d" providerId="ADAL" clId="{29D19F81-B072-4EA4-ACDE-1BA1815926FC}" dt="2024-05-09T13:12:21.163" v="199" actId="700"/>
          <ac:spMkLst>
            <pc:docMk/>
            <pc:sldMk cId="31002084" sldId="346"/>
            <ac:spMk id="11" creationId="{F4124825-50B4-4BBF-AF7E-CEA6C691B06E}"/>
          </ac:spMkLst>
        </pc:spChg>
        <pc:spChg chg="mod">
          <ac:chgData name="Cano, Diana" userId="7ae0d054-aa41-4eb0-96b5-853a0c5af08d" providerId="ADAL" clId="{29D19F81-B072-4EA4-ACDE-1BA1815926FC}" dt="2024-05-09T13:12:31.796" v="202" actId="1076"/>
          <ac:spMkLst>
            <pc:docMk/>
            <pc:sldMk cId="31002084" sldId="346"/>
            <ac:spMk id="17" creationId="{B234CF12-5548-4953-90A0-3EEFD5D79A3E}"/>
          </ac:spMkLst>
        </pc:spChg>
        <pc:picChg chg="mod">
          <ac:chgData name="Cano, Diana" userId="7ae0d054-aa41-4eb0-96b5-853a0c5af08d" providerId="ADAL" clId="{29D19F81-B072-4EA4-ACDE-1BA1815926FC}" dt="2024-05-09T13:12:28.715" v="201" actId="1076"/>
          <ac:picMkLst>
            <pc:docMk/>
            <pc:sldMk cId="31002084" sldId="346"/>
            <ac:picMk id="5" creationId="{1DEA4C9E-4FE3-EAA3-425D-E5993700D1CF}"/>
          </ac:picMkLst>
        </pc:picChg>
      </pc:sldChg>
      <pc:sldChg chg="modSp mod modClrScheme chgLayout">
        <pc:chgData name="Cano, Diana" userId="7ae0d054-aa41-4eb0-96b5-853a0c5af08d" providerId="ADAL" clId="{29D19F81-B072-4EA4-ACDE-1BA1815926FC}" dt="2024-05-09T13:11:49.505" v="194" actId="700"/>
        <pc:sldMkLst>
          <pc:docMk/>
          <pc:sldMk cId="3761828355" sldId="347"/>
        </pc:sldMkLst>
        <pc:spChg chg="mod ord">
          <ac:chgData name="Cano, Diana" userId="7ae0d054-aa41-4eb0-96b5-853a0c5af08d" providerId="ADAL" clId="{29D19F81-B072-4EA4-ACDE-1BA1815926FC}" dt="2024-05-09T13:11:49.505" v="194" actId="700"/>
          <ac:spMkLst>
            <pc:docMk/>
            <pc:sldMk cId="3761828355" sldId="347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3:11:49.505" v="194" actId="700"/>
          <ac:spMkLst>
            <pc:docMk/>
            <pc:sldMk cId="3761828355" sldId="347"/>
            <ac:spMk id="4" creationId="{9B93952C-E6F5-4B3B-88F7-A70ED8AC2E12}"/>
          </ac:spMkLst>
        </pc:spChg>
        <pc:spChg chg="mod ord">
          <ac:chgData name="Cano, Diana" userId="7ae0d054-aa41-4eb0-96b5-853a0c5af08d" providerId="ADAL" clId="{29D19F81-B072-4EA4-ACDE-1BA1815926FC}" dt="2024-05-09T13:11:49.505" v="194" actId="700"/>
          <ac:spMkLst>
            <pc:docMk/>
            <pc:sldMk cId="3761828355" sldId="347"/>
            <ac:spMk id="11" creationId="{F4124825-50B4-4BBF-AF7E-CEA6C691B06E}"/>
          </ac:spMkLst>
        </pc:spChg>
      </pc:sldChg>
      <pc:sldChg chg="modSp mod modClrScheme chgLayout">
        <pc:chgData name="Cano, Diana" userId="7ae0d054-aa41-4eb0-96b5-853a0c5af08d" providerId="ADAL" clId="{29D19F81-B072-4EA4-ACDE-1BA1815926FC}" dt="2024-05-09T13:12:04.352" v="196" actId="26606"/>
        <pc:sldMkLst>
          <pc:docMk/>
          <pc:sldMk cId="999914773" sldId="348"/>
        </pc:sldMkLst>
        <pc:spChg chg="mod ord">
          <ac:chgData name="Cano, Diana" userId="7ae0d054-aa41-4eb0-96b5-853a0c5af08d" providerId="ADAL" clId="{29D19F81-B072-4EA4-ACDE-1BA1815926FC}" dt="2024-05-09T13:12:04.352" v="196" actId="26606"/>
          <ac:spMkLst>
            <pc:docMk/>
            <pc:sldMk cId="999914773" sldId="348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3:12:04.352" v="196" actId="26606"/>
          <ac:spMkLst>
            <pc:docMk/>
            <pc:sldMk cId="999914773" sldId="348"/>
            <ac:spMk id="4" creationId="{9B93952C-E6F5-4B3B-88F7-A70ED8AC2E12}"/>
          </ac:spMkLst>
        </pc:spChg>
        <pc:spChg chg="mod ord">
          <ac:chgData name="Cano, Diana" userId="7ae0d054-aa41-4eb0-96b5-853a0c5af08d" providerId="ADAL" clId="{29D19F81-B072-4EA4-ACDE-1BA1815926FC}" dt="2024-05-09T13:12:04.352" v="196" actId="26606"/>
          <ac:spMkLst>
            <pc:docMk/>
            <pc:sldMk cId="999914773" sldId="348"/>
            <ac:spMk id="11" creationId="{F4124825-50B4-4BBF-AF7E-CEA6C691B06E}"/>
          </ac:spMkLst>
        </pc:spChg>
        <pc:picChg chg="mod">
          <ac:chgData name="Cano, Diana" userId="7ae0d054-aa41-4eb0-96b5-853a0c5af08d" providerId="ADAL" clId="{29D19F81-B072-4EA4-ACDE-1BA1815926FC}" dt="2024-05-09T13:12:04.352" v="196" actId="26606"/>
          <ac:picMkLst>
            <pc:docMk/>
            <pc:sldMk cId="999914773" sldId="348"/>
            <ac:picMk id="6" creationId="{C69A0FA5-C34F-4808-B4E7-D4198D33ADCF}"/>
          </ac:picMkLst>
        </pc:picChg>
      </pc:sldChg>
      <pc:sldChg chg="modSp mod modClrScheme chgLayout">
        <pc:chgData name="Cano, Diana" userId="7ae0d054-aa41-4eb0-96b5-853a0c5af08d" providerId="ADAL" clId="{29D19F81-B072-4EA4-ACDE-1BA1815926FC}" dt="2024-05-09T13:12:13.094" v="198" actId="26606"/>
        <pc:sldMkLst>
          <pc:docMk/>
          <pc:sldMk cId="2199766033" sldId="349"/>
        </pc:sldMkLst>
        <pc:spChg chg="mod ord">
          <ac:chgData name="Cano, Diana" userId="7ae0d054-aa41-4eb0-96b5-853a0c5af08d" providerId="ADAL" clId="{29D19F81-B072-4EA4-ACDE-1BA1815926FC}" dt="2024-05-09T13:12:13.094" v="198" actId="26606"/>
          <ac:spMkLst>
            <pc:docMk/>
            <pc:sldMk cId="2199766033" sldId="349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3:12:13.094" v="198" actId="26606"/>
          <ac:spMkLst>
            <pc:docMk/>
            <pc:sldMk cId="2199766033" sldId="349"/>
            <ac:spMk id="4" creationId="{9B93952C-E6F5-4B3B-88F7-A70ED8AC2E12}"/>
          </ac:spMkLst>
        </pc:spChg>
        <pc:spChg chg="mod ord">
          <ac:chgData name="Cano, Diana" userId="7ae0d054-aa41-4eb0-96b5-853a0c5af08d" providerId="ADAL" clId="{29D19F81-B072-4EA4-ACDE-1BA1815926FC}" dt="2024-05-09T13:12:13.094" v="198" actId="26606"/>
          <ac:spMkLst>
            <pc:docMk/>
            <pc:sldMk cId="2199766033" sldId="349"/>
            <ac:spMk id="5" creationId="{0DF61AF7-3FDF-4045-8757-634CDC9CABED}"/>
          </ac:spMkLst>
        </pc:spChg>
        <pc:picChg chg="mod">
          <ac:chgData name="Cano, Diana" userId="7ae0d054-aa41-4eb0-96b5-853a0c5af08d" providerId="ADAL" clId="{29D19F81-B072-4EA4-ACDE-1BA1815926FC}" dt="2024-05-09T13:12:13.094" v="198" actId="26606"/>
          <ac:picMkLst>
            <pc:docMk/>
            <pc:sldMk cId="2199766033" sldId="349"/>
            <ac:picMk id="8" creationId="{0747CB8E-2BF8-4EC2-B885-E9C10C2234B5}"/>
          </ac:picMkLst>
        </pc:picChg>
      </pc:sldChg>
      <pc:sldChg chg="addSp delSp modSp mod modClrScheme chgLayout">
        <pc:chgData name="Cano, Diana" userId="7ae0d054-aa41-4eb0-96b5-853a0c5af08d" providerId="ADAL" clId="{29D19F81-B072-4EA4-ACDE-1BA1815926FC}" dt="2024-05-09T13:14:30.248" v="348" actId="1076"/>
        <pc:sldMkLst>
          <pc:docMk/>
          <pc:sldMk cId="3052232871" sldId="351"/>
        </pc:sldMkLst>
        <pc:spChg chg="add mod ord">
          <ac:chgData name="Cano, Diana" userId="7ae0d054-aa41-4eb0-96b5-853a0c5af08d" providerId="ADAL" clId="{29D19F81-B072-4EA4-ACDE-1BA1815926FC}" dt="2024-05-09T13:14:30.248" v="348" actId="1076"/>
          <ac:spMkLst>
            <pc:docMk/>
            <pc:sldMk cId="3052232871" sldId="351"/>
            <ac:spMk id="2" creationId="{816204C3-AF7B-05FC-A3F9-5C313BAD316B}"/>
          </ac:spMkLst>
        </pc:spChg>
        <pc:spChg chg="add mod ord">
          <ac:chgData name="Cano, Diana" userId="7ae0d054-aa41-4eb0-96b5-853a0c5af08d" providerId="ADAL" clId="{29D19F81-B072-4EA4-ACDE-1BA1815926FC}" dt="2024-05-09T13:14:27.104" v="347" actId="1076"/>
          <ac:spMkLst>
            <pc:docMk/>
            <pc:sldMk cId="3052232871" sldId="351"/>
            <ac:spMk id="3" creationId="{940730BD-3C2C-F84C-4E3C-6456565AC915}"/>
          </ac:spMkLst>
        </pc:spChg>
        <pc:spChg chg="del mod">
          <ac:chgData name="Cano, Diana" userId="7ae0d054-aa41-4eb0-96b5-853a0c5af08d" providerId="ADAL" clId="{29D19F81-B072-4EA4-ACDE-1BA1815926FC}" dt="2024-05-09T13:14:22.128" v="346" actId="478"/>
          <ac:spMkLst>
            <pc:docMk/>
            <pc:sldMk cId="3052232871" sldId="351"/>
            <ac:spMk id="6" creationId="{98E319A6-1BE5-4196-88BA-3726C72DA591}"/>
          </ac:spMkLst>
        </pc:spChg>
      </pc:sldChg>
      <pc:sldChg chg="addSp delSp modSp mod modClrScheme chgLayout">
        <pc:chgData name="Cano, Diana" userId="7ae0d054-aa41-4eb0-96b5-853a0c5af08d" providerId="ADAL" clId="{29D19F81-B072-4EA4-ACDE-1BA1815926FC}" dt="2024-05-09T12:58:35.875" v="111" actId="478"/>
        <pc:sldMkLst>
          <pc:docMk/>
          <pc:sldMk cId="230365850" sldId="353"/>
        </pc:sldMkLst>
        <pc:spChg chg="mod ord">
          <ac:chgData name="Cano, Diana" userId="7ae0d054-aa41-4eb0-96b5-853a0c5af08d" providerId="ADAL" clId="{29D19F81-B072-4EA4-ACDE-1BA1815926FC}" dt="2024-05-09T12:58:29.862" v="110" actId="27636"/>
          <ac:spMkLst>
            <pc:docMk/>
            <pc:sldMk cId="230365850" sldId="353"/>
            <ac:spMk id="2" creationId="{0DB8CF19-6799-4716-BD1C-888560779682}"/>
          </ac:spMkLst>
        </pc:spChg>
        <pc:spChg chg="add del mod ord">
          <ac:chgData name="Cano, Diana" userId="7ae0d054-aa41-4eb0-96b5-853a0c5af08d" providerId="ADAL" clId="{29D19F81-B072-4EA4-ACDE-1BA1815926FC}" dt="2024-05-09T12:58:35.875" v="111" actId="478"/>
          <ac:spMkLst>
            <pc:docMk/>
            <pc:sldMk cId="230365850" sldId="353"/>
            <ac:spMk id="3" creationId="{C540AE83-67E6-E9DD-DDB0-3BB84FB755BC}"/>
          </ac:spMkLst>
        </pc:spChg>
      </pc:sldChg>
      <pc:sldChg chg="addSp delSp modSp mod modClrScheme chgLayout">
        <pc:chgData name="Cano, Diana" userId="7ae0d054-aa41-4eb0-96b5-853a0c5af08d" providerId="ADAL" clId="{29D19F81-B072-4EA4-ACDE-1BA1815926FC}" dt="2024-05-09T12:58:46.028" v="113" actId="478"/>
        <pc:sldMkLst>
          <pc:docMk/>
          <pc:sldMk cId="566132548" sldId="354"/>
        </pc:sldMkLst>
        <pc:spChg chg="mod ord">
          <ac:chgData name="Cano, Diana" userId="7ae0d054-aa41-4eb0-96b5-853a0c5af08d" providerId="ADAL" clId="{29D19F81-B072-4EA4-ACDE-1BA1815926FC}" dt="2024-05-09T12:58:42.780" v="112" actId="700"/>
          <ac:spMkLst>
            <pc:docMk/>
            <pc:sldMk cId="566132548" sldId="354"/>
            <ac:spMk id="2" creationId="{065635EB-13C9-EADC-E68E-879770E66C65}"/>
          </ac:spMkLst>
        </pc:spChg>
        <pc:spChg chg="add del mod ord">
          <ac:chgData name="Cano, Diana" userId="7ae0d054-aa41-4eb0-96b5-853a0c5af08d" providerId="ADAL" clId="{29D19F81-B072-4EA4-ACDE-1BA1815926FC}" dt="2024-05-09T12:58:46.028" v="113" actId="478"/>
          <ac:spMkLst>
            <pc:docMk/>
            <pc:sldMk cId="566132548" sldId="354"/>
            <ac:spMk id="4" creationId="{58F270A9-4F58-FB6C-B9AE-47726089E140}"/>
          </ac:spMkLst>
        </pc:spChg>
        <pc:spChg chg="mod ord">
          <ac:chgData name="Cano, Diana" userId="7ae0d054-aa41-4eb0-96b5-853a0c5af08d" providerId="ADAL" clId="{29D19F81-B072-4EA4-ACDE-1BA1815926FC}" dt="2024-05-09T12:58:42.780" v="112" actId="700"/>
          <ac:spMkLst>
            <pc:docMk/>
            <pc:sldMk cId="566132548" sldId="354"/>
            <ac:spMk id="12" creationId="{3A3E5A4D-A1DC-7916-BF87-2D2583E7CB70}"/>
          </ac:spMkLst>
        </pc:spChg>
      </pc:sldChg>
      <pc:sldChg chg="modSp mod modClrScheme chgLayout">
        <pc:chgData name="Cano, Diana" userId="7ae0d054-aa41-4eb0-96b5-853a0c5af08d" providerId="ADAL" clId="{29D19F81-B072-4EA4-ACDE-1BA1815926FC}" dt="2024-05-09T13:18:14.029" v="384" actId="26606"/>
        <pc:sldMkLst>
          <pc:docMk/>
          <pc:sldMk cId="2650408460" sldId="360"/>
        </pc:sldMkLst>
        <pc:spChg chg="mod ord">
          <ac:chgData name="Cano, Diana" userId="7ae0d054-aa41-4eb0-96b5-853a0c5af08d" providerId="ADAL" clId="{29D19F81-B072-4EA4-ACDE-1BA1815926FC}" dt="2024-05-09T13:18:14.029" v="384" actId="26606"/>
          <ac:spMkLst>
            <pc:docMk/>
            <pc:sldMk cId="2650408460" sldId="360"/>
            <ac:spMk id="2" creationId="{EBD49478-AA0F-9209-BA6F-90122186966D}"/>
          </ac:spMkLst>
        </pc:spChg>
        <pc:spChg chg="mod ord">
          <ac:chgData name="Cano, Diana" userId="7ae0d054-aa41-4eb0-96b5-853a0c5af08d" providerId="ADAL" clId="{29D19F81-B072-4EA4-ACDE-1BA1815926FC}" dt="2024-05-09T13:18:14.029" v="384" actId="26606"/>
          <ac:spMkLst>
            <pc:docMk/>
            <pc:sldMk cId="2650408460" sldId="360"/>
            <ac:spMk id="4" creationId="{3D7F329E-61AB-CE20-F9BE-FC1B0B8F1E04}"/>
          </ac:spMkLst>
        </pc:spChg>
        <pc:graphicFrameChg chg="mod ord modGraphic">
          <ac:chgData name="Cano, Diana" userId="7ae0d054-aa41-4eb0-96b5-853a0c5af08d" providerId="ADAL" clId="{29D19F81-B072-4EA4-ACDE-1BA1815926FC}" dt="2024-05-09T13:18:14.029" v="384" actId="26606"/>
          <ac:graphicFrameMkLst>
            <pc:docMk/>
            <pc:sldMk cId="2650408460" sldId="360"/>
            <ac:graphicFrameMk id="6" creationId="{8B67F7FC-1529-0FDD-1744-DB932FEB573F}"/>
          </ac:graphicFrameMkLst>
        </pc:graphicFrameChg>
      </pc:sldChg>
      <pc:sldChg chg="modSp mod modClrScheme chgLayout">
        <pc:chgData name="Cano, Diana" userId="7ae0d054-aa41-4eb0-96b5-853a0c5af08d" providerId="ADAL" clId="{29D19F81-B072-4EA4-ACDE-1BA1815926FC}" dt="2024-05-09T13:32:47.940" v="943" actId="6549"/>
        <pc:sldMkLst>
          <pc:docMk/>
          <pc:sldMk cId="1408058795" sldId="361"/>
        </pc:sldMkLst>
        <pc:spChg chg="mod ord">
          <ac:chgData name="Cano, Diana" userId="7ae0d054-aa41-4eb0-96b5-853a0c5af08d" providerId="ADAL" clId="{29D19F81-B072-4EA4-ACDE-1BA1815926FC}" dt="2024-05-09T13:05:21.969" v="142" actId="700"/>
          <ac:spMkLst>
            <pc:docMk/>
            <pc:sldMk cId="1408058795" sldId="361"/>
            <ac:spMk id="2" creationId="{EBD49478-AA0F-9209-BA6F-90122186966D}"/>
          </ac:spMkLst>
        </pc:spChg>
        <pc:spChg chg="mod ord">
          <ac:chgData name="Cano, Diana" userId="7ae0d054-aa41-4eb0-96b5-853a0c5af08d" providerId="ADAL" clId="{29D19F81-B072-4EA4-ACDE-1BA1815926FC}" dt="2024-05-09T13:05:34.703" v="144" actId="1076"/>
          <ac:spMkLst>
            <pc:docMk/>
            <pc:sldMk cId="1408058795" sldId="361"/>
            <ac:spMk id="3" creationId="{DCED5B23-9A31-7E41-CBFB-B1657584CDB2}"/>
          </ac:spMkLst>
        </pc:spChg>
        <pc:spChg chg="mod ord">
          <ac:chgData name="Cano, Diana" userId="7ae0d054-aa41-4eb0-96b5-853a0c5af08d" providerId="ADAL" clId="{29D19F81-B072-4EA4-ACDE-1BA1815926FC}" dt="2024-05-09T13:32:47.940" v="943" actId="6549"/>
          <ac:spMkLst>
            <pc:docMk/>
            <pc:sldMk cId="1408058795" sldId="361"/>
            <ac:spMk id="4" creationId="{3D7F329E-61AB-CE20-F9BE-FC1B0B8F1E04}"/>
          </ac:spMkLst>
        </pc:spChg>
      </pc:sldChg>
      <pc:sldChg chg="modSp mod modClrScheme chgLayout">
        <pc:chgData name="Cano, Diana" userId="7ae0d054-aa41-4eb0-96b5-853a0c5af08d" providerId="ADAL" clId="{29D19F81-B072-4EA4-ACDE-1BA1815926FC}" dt="2024-05-09T13:05:47.360" v="146" actId="26606"/>
        <pc:sldMkLst>
          <pc:docMk/>
          <pc:sldMk cId="1211428477" sldId="362"/>
        </pc:sldMkLst>
        <pc:spChg chg="mod ord">
          <ac:chgData name="Cano, Diana" userId="7ae0d054-aa41-4eb0-96b5-853a0c5af08d" providerId="ADAL" clId="{29D19F81-B072-4EA4-ACDE-1BA1815926FC}" dt="2024-05-09T13:05:47.360" v="146" actId="26606"/>
          <ac:spMkLst>
            <pc:docMk/>
            <pc:sldMk cId="1211428477" sldId="362"/>
            <ac:spMk id="2" creationId="{EBD49478-AA0F-9209-BA6F-90122186966D}"/>
          </ac:spMkLst>
        </pc:spChg>
        <pc:spChg chg="mod ord">
          <ac:chgData name="Cano, Diana" userId="7ae0d054-aa41-4eb0-96b5-853a0c5af08d" providerId="ADAL" clId="{29D19F81-B072-4EA4-ACDE-1BA1815926FC}" dt="2024-05-09T13:05:47.360" v="146" actId="26606"/>
          <ac:spMkLst>
            <pc:docMk/>
            <pc:sldMk cId="1211428477" sldId="362"/>
            <ac:spMk id="3" creationId="{DCED5B23-9A31-7E41-CBFB-B1657584CDB2}"/>
          </ac:spMkLst>
        </pc:spChg>
        <pc:spChg chg="mod ord">
          <ac:chgData name="Cano, Diana" userId="7ae0d054-aa41-4eb0-96b5-853a0c5af08d" providerId="ADAL" clId="{29D19F81-B072-4EA4-ACDE-1BA1815926FC}" dt="2024-05-09T13:05:47.360" v="146" actId="26606"/>
          <ac:spMkLst>
            <pc:docMk/>
            <pc:sldMk cId="1211428477" sldId="362"/>
            <ac:spMk id="4" creationId="{3D7F329E-61AB-CE20-F9BE-FC1B0B8F1E04}"/>
          </ac:spMkLst>
        </pc:spChg>
        <pc:picChg chg="mod">
          <ac:chgData name="Cano, Diana" userId="7ae0d054-aa41-4eb0-96b5-853a0c5af08d" providerId="ADAL" clId="{29D19F81-B072-4EA4-ACDE-1BA1815926FC}" dt="2024-05-09T13:05:47.360" v="146" actId="26606"/>
          <ac:picMkLst>
            <pc:docMk/>
            <pc:sldMk cId="1211428477" sldId="362"/>
            <ac:picMk id="11" creationId="{BF3AAD54-B217-30A3-25D7-8C82CB06003F}"/>
          </ac:picMkLst>
        </pc:picChg>
      </pc:sldChg>
      <pc:sldChg chg="modSp mod modClrScheme chgLayout">
        <pc:chgData name="Cano, Diana" userId="7ae0d054-aa41-4eb0-96b5-853a0c5af08d" providerId="ADAL" clId="{29D19F81-B072-4EA4-ACDE-1BA1815926FC}" dt="2024-05-09T13:10:00.817" v="186" actId="26606"/>
        <pc:sldMkLst>
          <pc:docMk/>
          <pc:sldMk cId="3457577178" sldId="363"/>
        </pc:sldMkLst>
        <pc:spChg chg="mod ord">
          <ac:chgData name="Cano, Diana" userId="7ae0d054-aa41-4eb0-96b5-853a0c5af08d" providerId="ADAL" clId="{29D19F81-B072-4EA4-ACDE-1BA1815926FC}" dt="2024-05-09T13:10:00.817" v="186" actId="26606"/>
          <ac:spMkLst>
            <pc:docMk/>
            <pc:sldMk cId="3457577178" sldId="363"/>
            <ac:spMk id="2" creationId="{7A778657-9970-4954-86EE-3D6B484A0A60}"/>
          </ac:spMkLst>
        </pc:spChg>
        <pc:spChg chg="mod ord">
          <ac:chgData name="Cano, Diana" userId="7ae0d054-aa41-4eb0-96b5-853a0c5af08d" providerId="ADAL" clId="{29D19F81-B072-4EA4-ACDE-1BA1815926FC}" dt="2024-05-09T13:10:00.817" v="186" actId="26606"/>
          <ac:spMkLst>
            <pc:docMk/>
            <pc:sldMk cId="3457577178" sldId="363"/>
            <ac:spMk id="3" creationId="{FC3E3BCC-5485-4F12-8BBB-EA197F87F8DD}"/>
          </ac:spMkLst>
        </pc:spChg>
        <pc:spChg chg="mod ord">
          <ac:chgData name="Cano, Diana" userId="7ae0d054-aa41-4eb0-96b5-853a0c5af08d" providerId="ADAL" clId="{29D19F81-B072-4EA4-ACDE-1BA1815926FC}" dt="2024-05-09T13:10:00.817" v="186" actId="26606"/>
          <ac:spMkLst>
            <pc:docMk/>
            <pc:sldMk cId="3457577178" sldId="363"/>
            <ac:spMk id="4" creationId="{BE0FF17B-7F42-4601-A5DD-92DFC60ACE33}"/>
          </ac:spMkLst>
        </pc:spChg>
        <pc:picChg chg="mod">
          <ac:chgData name="Cano, Diana" userId="7ae0d054-aa41-4eb0-96b5-853a0c5af08d" providerId="ADAL" clId="{29D19F81-B072-4EA4-ACDE-1BA1815926FC}" dt="2024-05-09T13:10:00.817" v="186" actId="26606"/>
          <ac:picMkLst>
            <pc:docMk/>
            <pc:sldMk cId="3457577178" sldId="363"/>
            <ac:picMk id="8" creationId="{DFAC42B0-E7DD-4F54-8836-2CAA924E3A51}"/>
          </ac:picMkLst>
        </pc:picChg>
      </pc:sldChg>
      <pc:sldChg chg="delSp modSp mod modClrScheme chgLayout">
        <pc:chgData name="Cano, Diana" userId="7ae0d054-aa41-4eb0-96b5-853a0c5af08d" providerId="ADAL" clId="{29D19F81-B072-4EA4-ACDE-1BA1815926FC}" dt="2024-05-09T13:18:53.546" v="385"/>
        <pc:sldMkLst>
          <pc:docMk/>
          <pc:sldMk cId="601074690" sldId="364"/>
        </pc:sldMkLst>
        <pc:spChg chg="mod ord">
          <ac:chgData name="Cano, Diana" userId="7ae0d054-aa41-4eb0-96b5-853a0c5af08d" providerId="ADAL" clId="{29D19F81-B072-4EA4-ACDE-1BA1815926FC}" dt="2024-05-09T13:12:36.850" v="203" actId="700"/>
          <ac:spMkLst>
            <pc:docMk/>
            <pc:sldMk cId="601074690" sldId="364"/>
            <ac:spMk id="2" creationId="{1B9A221D-F1DD-454E-A699-375C88295093}"/>
          </ac:spMkLst>
        </pc:spChg>
        <pc:spChg chg="mod ord">
          <ac:chgData name="Cano, Diana" userId="7ae0d054-aa41-4eb0-96b5-853a0c5af08d" providerId="ADAL" clId="{29D19F81-B072-4EA4-ACDE-1BA1815926FC}" dt="2024-05-09T13:12:36.850" v="203" actId="700"/>
          <ac:spMkLst>
            <pc:docMk/>
            <pc:sldMk cId="601074690" sldId="364"/>
            <ac:spMk id="4" creationId="{9B93952C-E6F5-4B3B-88F7-A70ED8AC2E12}"/>
          </ac:spMkLst>
        </pc:spChg>
        <pc:spChg chg="mod ord">
          <ac:chgData name="Cano, Diana" userId="7ae0d054-aa41-4eb0-96b5-853a0c5af08d" providerId="ADAL" clId="{29D19F81-B072-4EA4-ACDE-1BA1815926FC}" dt="2024-05-09T13:12:43.298" v="206" actId="27636"/>
          <ac:spMkLst>
            <pc:docMk/>
            <pc:sldMk cId="601074690" sldId="364"/>
            <ac:spMk id="11" creationId="{F4124825-50B4-4BBF-AF7E-CEA6C691B06E}"/>
          </ac:spMkLst>
        </pc:spChg>
        <pc:picChg chg="del">
          <ac:chgData name="Cano, Diana" userId="7ae0d054-aa41-4eb0-96b5-853a0c5af08d" providerId="ADAL" clId="{29D19F81-B072-4EA4-ACDE-1BA1815926FC}" dt="2024-05-09T13:18:53.546" v="385"/>
          <ac:picMkLst>
            <pc:docMk/>
            <pc:sldMk cId="601074690" sldId="364"/>
            <ac:picMk id="3" creationId="{E6AA5298-66B6-4374-BDFA-C22E66A87A09}"/>
          </ac:picMkLst>
        </pc:picChg>
      </pc:sldChg>
      <pc:sldChg chg="modSp mod modClrScheme chgLayout">
        <pc:chgData name="Cano, Diana" userId="7ae0d054-aa41-4eb0-96b5-853a0c5af08d" providerId="ADAL" clId="{29D19F81-B072-4EA4-ACDE-1BA1815926FC}" dt="2024-05-09T13:05:54.751" v="147" actId="700"/>
        <pc:sldMkLst>
          <pc:docMk/>
          <pc:sldMk cId="3958954124" sldId="365"/>
        </pc:sldMkLst>
        <pc:spChg chg="mod ord">
          <ac:chgData name="Cano, Diana" userId="7ae0d054-aa41-4eb0-96b5-853a0c5af08d" providerId="ADAL" clId="{29D19F81-B072-4EA4-ACDE-1BA1815926FC}" dt="2024-05-09T13:05:54.751" v="147" actId="700"/>
          <ac:spMkLst>
            <pc:docMk/>
            <pc:sldMk cId="3958954124" sldId="365"/>
            <ac:spMk id="2" creationId="{EBD49478-AA0F-9209-BA6F-90122186966D}"/>
          </ac:spMkLst>
        </pc:spChg>
        <pc:spChg chg="mod ord">
          <ac:chgData name="Cano, Diana" userId="7ae0d054-aa41-4eb0-96b5-853a0c5af08d" providerId="ADAL" clId="{29D19F81-B072-4EA4-ACDE-1BA1815926FC}" dt="2024-05-09T13:05:54.751" v="147" actId="700"/>
          <ac:spMkLst>
            <pc:docMk/>
            <pc:sldMk cId="3958954124" sldId="365"/>
            <ac:spMk id="3" creationId="{DCED5B23-9A31-7E41-CBFB-B1657584CDB2}"/>
          </ac:spMkLst>
        </pc:spChg>
        <pc:spChg chg="mod ord">
          <ac:chgData name="Cano, Diana" userId="7ae0d054-aa41-4eb0-96b5-853a0c5af08d" providerId="ADAL" clId="{29D19F81-B072-4EA4-ACDE-1BA1815926FC}" dt="2024-05-09T13:05:54.751" v="147" actId="700"/>
          <ac:spMkLst>
            <pc:docMk/>
            <pc:sldMk cId="3958954124" sldId="365"/>
            <ac:spMk id="4" creationId="{3D7F329E-61AB-CE20-F9BE-FC1B0B8F1E04}"/>
          </ac:spMkLst>
        </pc:spChg>
      </pc:sldChg>
      <pc:sldChg chg="new del">
        <pc:chgData name="Cano, Diana" userId="7ae0d054-aa41-4eb0-96b5-853a0c5af08d" providerId="ADAL" clId="{29D19F81-B072-4EA4-ACDE-1BA1815926FC}" dt="2024-05-09T13:26:08.244" v="713" actId="2696"/>
        <pc:sldMkLst>
          <pc:docMk/>
          <pc:sldMk cId="590011386" sldId="366"/>
        </pc:sldMkLst>
      </pc:sldChg>
      <pc:sldChg chg="add del">
        <pc:chgData name="Cano, Diana" userId="7ae0d054-aa41-4eb0-96b5-853a0c5af08d" providerId="ADAL" clId="{29D19F81-B072-4EA4-ACDE-1BA1815926FC}" dt="2024-05-09T12:50:58.029" v="11" actId="2696"/>
        <pc:sldMkLst>
          <pc:docMk/>
          <pc:sldMk cId="1103445011" sldId="366"/>
        </pc:sldMkLst>
      </pc:sldChg>
      <pc:sldChg chg="addSp delSp modSp new mod ord">
        <pc:chgData name="Cano, Diana" userId="7ae0d054-aa41-4eb0-96b5-853a0c5af08d" providerId="ADAL" clId="{29D19F81-B072-4EA4-ACDE-1BA1815926FC}" dt="2024-05-09T13:34:24.608" v="1001" actId="26606"/>
        <pc:sldMkLst>
          <pc:docMk/>
          <pc:sldMk cId="3119023140" sldId="366"/>
        </pc:sldMkLst>
        <pc:spChg chg="mod">
          <ac:chgData name="Cano, Diana" userId="7ae0d054-aa41-4eb0-96b5-853a0c5af08d" providerId="ADAL" clId="{29D19F81-B072-4EA4-ACDE-1BA1815926FC}" dt="2024-05-09T13:34:24.608" v="1001" actId="26606"/>
          <ac:spMkLst>
            <pc:docMk/>
            <pc:sldMk cId="3119023140" sldId="366"/>
            <ac:spMk id="2" creationId="{F31EECD0-724E-5F3D-4312-F794B468D091}"/>
          </ac:spMkLst>
        </pc:spChg>
        <pc:spChg chg="add del mod">
          <ac:chgData name="Cano, Diana" userId="7ae0d054-aa41-4eb0-96b5-853a0c5af08d" providerId="ADAL" clId="{29D19F81-B072-4EA4-ACDE-1BA1815926FC}" dt="2024-05-09T13:34:24.608" v="1001" actId="26606"/>
          <ac:spMkLst>
            <pc:docMk/>
            <pc:sldMk cId="3119023140" sldId="366"/>
            <ac:spMk id="3" creationId="{A962CDE4-FB02-870B-8887-F4DBA27766DF}"/>
          </ac:spMkLst>
        </pc:spChg>
        <pc:spChg chg="mod">
          <ac:chgData name="Cano, Diana" userId="7ae0d054-aa41-4eb0-96b5-853a0c5af08d" providerId="ADAL" clId="{29D19F81-B072-4EA4-ACDE-1BA1815926FC}" dt="2024-05-09T13:34:24.608" v="1001" actId="26606"/>
          <ac:spMkLst>
            <pc:docMk/>
            <pc:sldMk cId="3119023140" sldId="366"/>
            <ac:spMk id="4" creationId="{523ADD8A-5618-F22C-7A03-45E02C6530B3}"/>
          </ac:spMkLst>
        </pc:spChg>
        <pc:graphicFrameChg chg="add del">
          <ac:chgData name="Cano, Diana" userId="7ae0d054-aa41-4eb0-96b5-853a0c5af08d" providerId="ADAL" clId="{29D19F81-B072-4EA4-ACDE-1BA1815926FC}" dt="2024-05-09T13:34:24.577" v="1000" actId="26606"/>
          <ac:graphicFrameMkLst>
            <pc:docMk/>
            <pc:sldMk cId="3119023140" sldId="366"/>
            <ac:graphicFrameMk id="6" creationId="{E2DBBDBD-E599-07B9-2361-A99F5382F1F0}"/>
          </ac:graphicFrameMkLst>
        </pc:graphicFrameChg>
        <pc:graphicFrameChg chg="add">
          <ac:chgData name="Cano, Diana" userId="7ae0d054-aa41-4eb0-96b5-853a0c5af08d" providerId="ADAL" clId="{29D19F81-B072-4EA4-ACDE-1BA1815926FC}" dt="2024-05-09T13:34:24.608" v="1001" actId="26606"/>
          <ac:graphicFrameMkLst>
            <pc:docMk/>
            <pc:sldMk cId="3119023140" sldId="366"/>
            <ac:graphicFrameMk id="8" creationId="{791A7C3A-2AC9-DF32-C080-038D31915BC9}"/>
          </ac:graphicFrameMkLst>
        </pc:graphicFrameChg>
      </pc:sldChg>
      <pc:sldChg chg="add del">
        <pc:chgData name="Cano, Diana" userId="7ae0d054-aa41-4eb0-96b5-853a0c5af08d" providerId="ADAL" clId="{29D19F81-B072-4EA4-ACDE-1BA1815926FC}" dt="2024-05-09T12:51:00.210" v="12" actId="2696"/>
        <pc:sldMkLst>
          <pc:docMk/>
          <pc:sldMk cId="277691511" sldId="367"/>
        </pc:sldMkLst>
      </pc:sldChg>
      <pc:sldChg chg="add del">
        <pc:chgData name="Cano, Diana" userId="7ae0d054-aa41-4eb0-96b5-853a0c5af08d" providerId="ADAL" clId="{29D19F81-B072-4EA4-ACDE-1BA1815926FC}" dt="2024-05-09T12:51:02.142" v="13" actId="2696"/>
        <pc:sldMkLst>
          <pc:docMk/>
          <pc:sldMk cId="3953984008" sldId="368"/>
        </pc:sldMkLst>
      </pc:sldChg>
      <pc:sldChg chg="add del">
        <pc:chgData name="Cano, Diana" userId="7ae0d054-aa41-4eb0-96b5-853a0c5af08d" providerId="ADAL" clId="{29D19F81-B072-4EA4-ACDE-1BA1815926FC}" dt="2024-05-09T12:51:05.187" v="14" actId="2696"/>
        <pc:sldMkLst>
          <pc:docMk/>
          <pc:sldMk cId="2730280251" sldId="369"/>
        </pc:sldMkLst>
      </pc:sldChg>
      <pc:sldChg chg="new del">
        <pc:chgData name="Cano, Diana" userId="7ae0d054-aa41-4eb0-96b5-853a0c5af08d" providerId="ADAL" clId="{29D19F81-B072-4EA4-ACDE-1BA1815926FC}" dt="2024-05-09T12:50:55.578" v="10" actId="2696"/>
        <pc:sldMkLst>
          <pc:docMk/>
          <pc:sldMk cId="2305867451" sldId="370"/>
        </pc:sldMkLst>
      </pc:sldChg>
      <pc:sldMasterChg chg="del delSldLayout">
        <pc:chgData name="Cano, Diana" userId="7ae0d054-aa41-4eb0-96b5-853a0c5af08d" providerId="ADAL" clId="{29D19F81-B072-4EA4-ACDE-1BA1815926FC}" dt="2024-05-09T13:16:48.536" v="365" actId="700"/>
        <pc:sldMasterMkLst>
          <pc:docMk/>
          <pc:sldMasterMk cId="2530762699" sldId="2147483766"/>
        </pc:sldMasterMkLst>
        <pc:sldLayoutChg chg="del">
          <pc:chgData name="Cano, Diana" userId="7ae0d054-aa41-4eb0-96b5-853a0c5af08d" providerId="ADAL" clId="{29D19F81-B072-4EA4-ACDE-1BA1815926FC}" dt="2024-05-09T13:16:48.536" v="365" actId="700"/>
          <pc:sldLayoutMkLst>
            <pc:docMk/>
            <pc:sldMasterMk cId="2530762699" sldId="2147483766"/>
            <pc:sldLayoutMk cId="1871125287" sldId="2147483767"/>
          </pc:sldLayoutMkLst>
        </pc:sldLayoutChg>
        <pc:sldLayoutChg chg="del">
          <pc:chgData name="Cano, Diana" userId="7ae0d054-aa41-4eb0-96b5-853a0c5af08d" providerId="ADAL" clId="{29D19F81-B072-4EA4-ACDE-1BA1815926FC}" dt="2024-05-09T13:16:48.536" v="365" actId="700"/>
          <pc:sldLayoutMkLst>
            <pc:docMk/>
            <pc:sldMasterMk cId="2530762699" sldId="2147483766"/>
            <pc:sldLayoutMk cId="280987637" sldId="2147483768"/>
          </pc:sldLayoutMkLst>
        </pc:sldLayoutChg>
        <pc:sldLayoutChg chg="del">
          <pc:chgData name="Cano, Diana" userId="7ae0d054-aa41-4eb0-96b5-853a0c5af08d" providerId="ADAL" clId="{29D19F81-B072-4EA4-ACDE-1BA1815926FC}" dt="2024-05-09T13:16:48.536" v="365" actId="700"/>
          <pc:sldLayoutMkLst>
            <pc:docMk/>
            <pc:sldMasterMk cId="2530762699" sldId="2147483766"/>
            <pc:sldLayoutMk cId="3942115429" sldId="2147483769"/>
          </pc:sldLayoutMkLst>
        </pc:sldLayoutChg>
        <pc:sldLayoutChg chg="del">
          <pc:chgData name="Cano, Diana" userId="7ae0d054-aa41-4eb0-96b5-853a0c5af08d" providerId="ADAL" clId="{29D19F81-B072-4EA4-ACDE-1BA1815926FC}" dt="2024-05-09T13:16:48.536" v="365" actId="700"/>
          <pc:sldLayoutMkLst>
            <pc:docMk/>
            <pc:sldMasterMk cId="2530762699" sldId="2147483766"/>
            <pc:sldLayoutMk cId="956407342" sldId="2147483770"/>
          </pc:sldLayoutMkLst>
        </pc:sldLayoutChg>
        <pc:sldLayoutChg chg="del">
          <pc:chgData name="Cano, Diana" userId="7ae0d054-aa41-4eb0-96b5-853a0c5af08d" providerId="ADAL" clId="{29D19F81-B072-4EA4-ACDE-1BA1815926FC}" dt="2024-05-09T13:16:48.536" v="365" actId="700"/>
          <pc:sldLayoutMkLst>
            <pc:docMk/>
            <pc:sldMasterMk cId="2530762699" sldId="2147483766"/>
            <pc:sldLayoutMk cId="1584549989" sldId="2147483771"/>
          </pc:sldLayoutMkLst>
        </pc:sldLayoutChg>
        <pc:sldLayoutChg chg="del">
          <pc:chgData name="Cano, Diana" userId="7ae0d054-aa41-4eb0-96b5-853a0c5af08d" providerId="ADAL" clId="{29D19F81-B072-4EA4-ACDE-1BA1815926FC}" dt="2024-05-09T13:16:48.536" v="365" actId="700"/>
          <pc:sldLayoutMkLst>
            <pc:docMk/>
            <pc:sldMasterMk cId="2530762699" sldId="2147483766"/>
            <pc:sldLayoutMk cId="3805337465" sldId="2147483772"/>
          </pc:sldLayoutMkLst>
        </pc:sldLayoutChg>
      </pc:sldMasterChg>
      <pc:sldMasterChg chg="add addSldLayout">
        <pc:chgData name="Cano, Diana" userId="7ae0d054-aa41-4eb0-96b5-853a0c5af08d" providerId="ADAL" clId="{29D19F81-B072-4EA4-ACDE-1BA1815926FC}" dt="2024-05-09T12:50:17.103" v="6" actId="27028"/>
        <pc:sldMasterMkLst>
          <pc:docMk/>
          <pc:sldMasterMk cId="2530762699" sldId="2147483773"/>
        </pc:sldMasterMkLst>
        <pc:sldLayoutChg chg="add">
          <pc:chgData name="Cano, Diana" userId="7ae0d054-aa41-4eb0-96b5-853a0c5af08d" providerId="ADAL" clId="{29D19F81-B072-4EA4-ACDE-1BA1815926FC}" dt="2024-05-09T12:50:17.103" v="6" actId="27028"/>
          <pc:sldLayoutMkLst>
            <pc:docMk/>
            <pc:sldMasterMk cId="2530762699" sldId="2147483773"/>
            <pc:sldLayoutMk cId="4212399445" sldId="2147483742"/>
          </pc:sldLayoutMkLst>
        </pc:sldLayoutChg>
        <pc:sldLayoutChg chg="add">
          <pc:chgData name="Cano, Diana" userId="7ae0d054-aa41-4eb0-96b5-853a0c5af08d" providerId="ADAL" clId="{29D19F81-B072-4EA4-ACDE-1BA1815926FC}" dt="2024-05-09T12:50:16.225" v="4" actId="27028"/>
          <pc:sldLayoutMkLst>
            <pc:docMk/>
            <pc:sldMasterMk cId="2530762699" sldId="2147483773"/>
            <pc:sldLayoutMk cId="1794385836" sldId="2147483744"/>
          </pc:sldLayoutMkLst>
        </pc:sldLayoutChg>
        <pc:sldLayoutChg chg="add">
          <pc:chgData name="Cano, Diana" userId="7ae0d054-aa41-4eb0-96b5-853a0c5af08d" providerId="ADAL" clId="{29D19F81-B072-4EA4-ACDE-1BA1815926FC}" dt="2024-05-09T12:50:10.339" v="0" actId="27028"/>
          <pc:sldLayoutMkLst>
            <pc:docMk/>
            <pc:sldMasterMk cId="2530762699" sldId="2147483773"/>
            <pc:sldLayoutMk cId="1871125287" sldId="2147483774"/>
          </pc:sldLayoutMkLst>
        </pc:sldLayoutChg>
        <pc:sldLayoutChg chg="add">
          <pc:chgData name="Cano, Diana" userId="7ae0d054-aa41-4eb0-96b5-853a0c5af08d" providerId="ADAL" clId="{29D19F81-B072-4EA4-ACDE-1BA1815926FC}" dt="2024-05-09T12:50:13.917" v="2" actId="27028"/>
          <pc:sldLayoutMkLst>
            <pc:docMk/>
            <pc:sldMasterMk cId="2530762699" sldId="2147483773"/>
            <pc:sldLayoutMk cId="280987637" sldId="2147483775"/>
          </pc:sldLayoutMkLst>
        </pc:sldLayoutChg>
      </pc:sldMasterChg>
      <pc:sldMasterChg chg="del delSldLayout">
        <pc:chgData name="Cano, Diana" userId="7ae0d054-aa41-4eb0-96b5-853a0c5af08d" providerId="ADAL" clId="{29D19F81-B072-4EA4-ACDE-1BA1815926FC}" dt="2024-05-09T13:19:04.460" v="387" actId="700"/>
        <pc:sldMasterMkLst>
          <pc:docMk/>
          <pc:sldMasterMk cId="1801855019" sldId="2147483776"/>
        </pc:sldMasterMkLst>
        <pc:sldLayoutChg chg="del">
          <pc:chgData name="Cano, Diana" userId="7ae0d054-aa41-4eb0-96b5-853a0c5af08d" providerId="ADAL" clId="{29D19F81-B072-4EA4-ACDE-1BA1815926FC}" dt="2024-05-09T13:19:04.460" v="387" actId="700"/>
          <pc:sldLayoutMkLst>
            <pc:docMk/>
            <pc:sldMasterMk cId="1801855019" sldId="2147483776"/>
            <pc:sldLayoutMk cId="4168129845" sldId="2147483777"/>
          </pc:sldLayoutMkLst>
        </pc:sldLayoutChg>
        <pc:sldLayoutChg chg="del">
          <pc:chgData name="Cano, Diana" userId="7ae0d054-aa41-4eb0-96b5-853a0c5af08d" providerId="ADAL" clId="{29D19F81-B072-4EA4-ACDE-1BA1815926FC}" dt="2024-05-09T13:19:04.460" v="387" actId="700"/>
          <pc:sldLayoutMkLst>
            <pc:docMk/>
            <pc:sldMasterMk cId="1801855019" sldId="2147483776"/>
            <pc:sldLayoutMk cId="4118336632" sldId="2147483778"/>
          </pc:sldLayoutMkLst>
        </pc:sldLayoutChg>
        <pc:sldLayoutChg chg="del">
          <pc:chgData name="Cano, Diana" userId="7ae0d054-aa41-4eb0-96b5-853a0c5af08d" providerId="ADAL" clId="{29D19F81-B072-4EA4-ACDE-1BA1815926FC}" dt="2024-05-09T13:19:04.460" v="387" actId="700"/>
          <pc:sldLayoutMkLst>
            <pc:docMk/>
            <pc:sldMasterMk cId="1801855019" sldId="2147483776"/>
            <pc:sldLayoutMk cId="1547940300" sldId="2147483779"/>
          </pc:sldLayoutMkLst>
        </pc:sldLayoutChg>
        <pc:sldLayoutChg chg="del">
          <pc:chgData name="Cano, Diana" userId="7ae0d054-aa41-4eb0-96b5-853a0c5af08d" providerId="ADAL" clId="{29D19F81-B072-4EA4-ACDE-1BA1815926FC}" dt="2024-05-09T13:19:04.460" v="387" actId="700"/>
          <pc:sldLayoutMkLst>
            <pc:docMk/>
            <pc:sldMasterMk cId="1801855019" sldId="2147483776"/>
            <pc:sldLayoutMk cId="135608390" sldId="2147483780"/>
          </pc:sldLayoutMkLst>
        </pc:sldLayoutChg>
        <pc:sldLayoutChg chg="del">
          <pc:chgData name="Cano, Diana" userId="7ae0d054-aa41-4eb0-96b5-853a0c5af08d" providerId="ADAL" clId="{29D19F81-B072-4EA4-ACDE-1BA1815926FC}" dt="2024-05-09T13:19:04.460" v="387" actId="700"/>
          <pc:sldLayoutMkLst>
            <pc:docMk/>
            <pc:sldMasterMk cId="1801855019" sldId="2147483776"/>
            <pc:sldLayoutMk cId="3002787670" sldId="2147483781"/>
          </pc:sldLayoutMkLst>
        </pc:sldLayoutChg>
        <pc:sldLayoutChg chg="del">
          <pc:chgData name="Cano, Diana" userId="7ae0d054-aa41-4eb0-96b5-853a0c5af08d" providerId="ADAL" clId="{29D19F81-B072-4EA4-ACDE-1BA1815926FC}" dt="2024-05-09T13:19:04.460" v="387" actId="700"/>
          <pc:sldLayoutMkLst>
            <pc:docMk/>
            <pc:sldMasterMk cId="1801855019" sldId="2147483776"/>
            <pc:sldLayoutMk cId="337730369" sldId="2147483782"/>
          </pc:sldLayoutMkLst>
        </pc:sldLayoutChg>
        <pc:sldLayoutChg chg="del">
          <pc:chgData name="Cano, Diana" userId="7ae0d054-aa41-4eb0-96b5-853a0c5af08d" providerId="ADAL" clId="{29D19F81-B072-4EA4-ACDE-1BA1815926FC}" dt="2024-05-09T13:19:04.460" v="387" actId="700"/>
          <pc:sldLayoutMkLst>
            <pc:docMk/>
            <pc:sldMasterMk cId="1801855019" sldId="2147483776"/>
            <pc:sldLayoutMk cId="91684728" sldId="2147483783"/>
          </pc:sldLayoutMkLst>
        </pc:sldLayoutChg>
        <pc:sldLayoutChg chg="del">
          <pc:chgData name="Cano, Diana" userId="7ae0d054-aa41-4eb0-96b5-853a0c5af08d" providerId="ADAL" clId="{29D19F81-B072-4EA4-ACDE-1BA1815926FC}" dt="2024-05-09T13:19:04.460" v="387" actId="700"/>
          <pc:sldLayoutMkLst>
            <pc:docMk/>
            <pc:sldMasterMk cId="1801855019" sldId="2147483776"/>
            <pc:sldLayoutMk cId="1064881841" sldId="2147483784"/>
          </pc:sldLayoutMkLst>
        </pc:sldLayoutChg>
        <pc:sldLayoutChg chg="del">
          <pc:chgData name="Cano, Diana" userId="7ae0d054-aa41-4eb0-96b5-853a0c5af08d" providerId="ADAL" clId="{29D19F81-B072-4EA4-ACDE-1BA1815926FC}" dt="2024-05-09T13:19:04.460" v="387" actId="700"/>
          <pc:sldLayoutMkLst>
            <pc:docMk/>
            <pc:sldMasterMk cId="1801855019" sldId="2147483776"/>
            <pc:sldLayoutMk cId="1356075558" sldId="2147483785"/>
          </pc:sldLayoutMkLst>
        </pc:sldLayoutChg>
        <pc:sldLayoutChg chg="del">
          <pc:chgData name="Cano, Diana" userId="7ae0d054-aa41-4eb0-96b5-853a0c5af08d" providerId="ADAL" clId="{29D19F81-B072-4EA4-ACDE-1BA1815926FC}" dt="2024-05-09T13:19:04.460" v="387" actId="700"/>
          <pc:sldLayoutMkLst>
            <pc:docMk/>
            <pc:sldMasterMk cId="1801855019" sldId="2147483776"/>
            <pc:sldLayoutMk cId="850106612" sldId="2147483786"/>
          </pc:sldLayoutMkLst>
        </pc:sldLayoutChg>
        <pc:sldLayoutChg chg="del">
          <pc:chgData name="Cano, Diana" userId="7ae0d054-aa41-4eb0-96b5-853a0c5af08d" providerId="ADAL" clId="{29D19F81-B072-4EA4-ACDE-1BA1815926FC}" dt="2024-05-09T13:19:04.460" v="387" actId="700"/>
          <pc:sldLayoutMkLst>
            <pc:docMk/>
            <pc:sldMasterMk cId="1801855019" sldId="2147483776"/>
            <pc:sldLayoutMk cId="470311834" sldId="2147483787"/>
          </pc:sldLayoutMkLst>
        </pc:sldLayoutChg>
        <pc:sldLayoutChg chg="del">
          <pc:chgData name="Cano, Diana" userId="7ae0d054-aa41-4eb0-96b5-853a0c5af08d" providerId="ADAL" clId="{29D19F81-B072-4EA4-ACDE-1BA1815926FC}" dt="2024-05-09T13:19:04.460" v="387" actId="700"/>
          <pc:sldLayoutMkLst>
            <pc:docMk/>
            <pc:sldMasterMk cId="1801855019" sldId="2147483776"/>
            <pc:sldLayoutMk cId="3514173266" sldId="2147483788"/>
          </pc:sldLayoutMkLst>
        </pc:sldLayoutChg>
      </pc:sldMasterChg>
      <pc:sldMasterChg chg="del replId delSldLayout modSldLayout">
        <pc:chgData name="Cano, Diana" userId="7ae0d054-aa41-4eb0-96b5-853a0c5af08d" providerId="ADAL" clId="{29D19F81-B072-4EA4-ACDE-1BA1815926FC}" dt="2024-05-09T13:14:34.224" v="349" actId="2696"/>
        <pc:sldMasterMkLst>
          <pc:docMk/>
          <pc:sldMasterMk cId="3330868075" sldId="2147483777"/>
        </pc:sldMasterMkLst>
        <pc:sldLayoutChg chg="del">
          <pc:chgData name="Cano, Diana" userId="7ae0d054-aa41-4eb0-96b5-853a0c5af08d" providerId="ADAL" clId="{29D19F81-B072-4EA4-ACDE-1BA1815926FC}" dt="2024-05-09T13:14:34.224" v="349" actId="2696"/>
          <pc:sldLayoutMkLst>
            <pc:docMk/>
            <pc:sldMasterMk cId="3330868075" sldId="2147483777"/>
            <pc:sldLayoutMk cId="2961064483" sldId="2147483743"/>
          </pc:sldLayoutMkLst>
        </pc:sldLayoutChg>
        <pc:sldLayoutChg chg="del">
          <pc:chgData name="Cano, Diana" userId="7ae0d054-aa41-4eb0-96b5-853a0c5af08d" providerId="ADAL" clId="{29D19F81-B072-4EA4-ACDE-1BA1815926FC}" dt="2024-05-09T13:14:34.224" v="349" actId="2696"/>
          <pc:sldLayoutMkLst>
            <pc:docMk/>
            <pc:sldMasterMk cId="3330868075" sldId="2147483777"/>
            <pc:sldLayoutMk cId="1283204153" sldId="2147483745"/>
          </pc:sldLayoutMkLst>
        </pc:sldLayoutChg>
        <pc:sldLayoutChg chg="del">
          <pc:chgData name="Cano, Diana" userId="7ae0d054-aa41-4eb0-96b5-853a0c5af08d" providerId="ADAL" clId="{29D19F81-B072-4EA4-ACDE-1BA1815926FC}" dt="2024-05-09T13:14:34.224" v="349" actId="2696"/>
          <pc:sldLayoutMkLst>
            <pc:docMk/>
            <pc:sldMasterMk cId="3330868075" sldId="2147483777"/>
            <pc:sldLayoutMk cId="3973990510" sldId="2147483746"/>
          </pc:sldLayoutMkLst>
        </pc:sldLayoutChg>
        <pc:sldLayoutChg chg="del">
          <pc:chgData name="Cano, Diana" userId="7ae0d054-aa41-4eb0-96b5-853a0c5af08d" providerId="ADAL" clId="{29D19F81-B072-4EA4-ACDE-1BA1815926FC}" dt="2024-05-09T13:14:34.224" v="349" actId="2696"/>
          <pc:sldLayoutMkLst>
            <pc:docMk/>
            <pc:sldMasterMk cId="3330868075" sldId="2147483777"/>
            <pc:sldLayoutMk cId="1548390082" sldId="2147483747"/>
          </pc:sldLayoutMkLst>
        </pc:sldLayoutChg>
        <pc:sldLayoutChg chg="del">
          <pc:chgData name="Cano, Diana" userId="7ae0d054-aa41-4eb0-96b5-853a0c5af08d" providerId="ADAL" clId="{29D19F81-B072-4EA4-ACDE-1BA1815926FC}" dt="2024-05-09T13:14:34.224" v="349" actId="2696"/>
          <pc:sldLayoutMkLst>
            <pc:docMk/>
            <pc:sldMasterMk cId="3330868075" sldId="2147483777"/>
            <pc:sldLayoutMk cId="3338160829" sldId="2147483748"/>
          </pc:sldLayoutMkLst>
        </pc:sldLayoutChg>
        <pc:sldLayoutChg chg="del">
          <pc:chgData name="Cano, Diana" userId="7ae0d054-aa41-4eb0-96b5-853a0c5af08d" providerId="ADAL" clId="{29D19F81-B072-4EA4-ACDE-1BA1815926FC}" dt="2024-05-09T13:14:34.224" v="349" actId="2696"/>
          <pc:sldLayoutMkLst>
            <pc:docMk/>
            <pc:sldMasterMk cId="3330868075" sldId="2147483777"/>
            <pc:sldLayoutMk cId="1439080277" sldId="2147483749"/>
          </pc:sldLayoutMkLst>
        </pc:sldLayoutChg>
        <pc:sldLayoutChg chg="del">
          <pc:chgData name="Cano, Diana" userId="7ae0d054-aa41-4eb0-96b5-853a0c5af08d" providerId="ADAL" clId="{29D19F81-B072-4EA4-ACDE-1BA1815926FC}" dt="2024-05-09T13:14:34.224" v="349" actId="2696"/>
          <pc:sldLayoutMkLst>
            <pc:docMk/>
            <pc:sldMasterMk cId="3330868075" sldId="2147483777"/>
            <pc:sldLayoutMk cId="2266964784" sldId="2147483750"/>
          </pc:sldLayoutMkLst>
        </pc:sldLayoutChg>
        <pc:sldLayoutChg chg="del">
          <pc:chgData name="Cano, Diana" userId="7ae0d054-aa41-4eb0-96b5-853a0c5af08d" providerId="ADAL" clId="{29D19F81-B072-4EA4-ACDE-1BA1815926FC}" dt="2024-05-09T13:14:34.224" v="349" actId="2696"/>
          <pc:sldLayoutMkLst>
            <pc:docMk/>
            <pc:sldMasterMk cId="3330868075" sldId="2147483777"/>
            <pc:sldLayoutMk cId="3623488023" sldId="2147483751"/>
          </pc:sldLayoutMkLst>
        </pc:sldLayoutChg>
        <pc:sldLayoutChg chg="del">
          <pc:chgData name="Cano, Diana" userId="7ae0d054-aa41-4eb0-96b5-853a0c5af08d" providerId="ADAL" clId="{29D19F81-B072-4EA4-ACDE-1BA1815926FC}" dt="2024-05-09T13:14:34.224" v="349" actId="2696"/>
          <pc:sldLayoutMkLst>
            <pc:docMk/>
            <pc:sldMasterMk cId="3330868075" sldId="2147483777"/>
            <pc:sldLayoutMk cId="2020837273" sldId="2147483752"/>
          </pc:sldLayoutMkLst>
        </pc:sldLayoutChg>
        <pc:sldLayoutChg chg="del">
          <pc:chgData name="Cano, Diana" userId="7ae0d054-aa41-4eb0-96b5-853a0c5af08d" providerId="ADAL" clId="{29D19F81-B072-4EA4-ACDE-1BA1815926FC}" dt="2024-05-09T13:14:34.224" v="349" actId="2696"/>
          <pc:sldLayoutMkLst>
            <pc:docMk/>
            <pc:sldMasterMk cId="3330868075" sldId="2147483777"/>
            <pc:sldLayoutMk cId="1446256153" sldId="2147483753"/>
          </pc:sldLayoutMkLst>
        </pc:sldLayoutChg>
        <pc:sldLayoutChg chg="del">
          <pc:chgData name="Cano, Diana" userId="7ae0d054-aa41-4eb0-96b5-853a0c5af08d" providerId="ADAL" clId="{29D19F81-B072-4EA4-ACDE-1BA1815926FC}" dt="2024-05-09T13:14:34.224" v="349" actId="2696"/>
          <pc:sldLayoutMkLst>
            <pc:docMk/>
            <pc:sldMasterMk cId="3330868075" sldId="2147483777"/>
            <pc:sldLayoutMk cId="1546857302" sldId="2147483754"/>
          </pc:sldLayoutMkLst>
        </pc:sldLayoutChg>
        <pc:sldLayoutChg chg="del replId">
          <pc:chgData name="Cano, Diana" userId="7ae0d054-aa41-4eb0-96b5-853a0c5af08d" providerId="ADAL" clId="{29D19F81-B072-4EA4-ACDE-1BA1815926FC}" dt="2024-05-09T13:14:34.224" v="349" actId="2696"/>
          <pc:sldLayoutMkLst>
            <pc:docMk/>
            <pc:sldMasterMk cId="3330868075" sldId="2147483777"/>
            <pc:sldLayoutMk cId="3400780252" sldId="2147483776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color</c:v>
                </c:pt>
              </c:strCache>
            </c:strRef>
          </c:tx>
          <c:spPr>
            <a:solidFill>
              <a:srgbClr val="C14628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747-AEB2-46BA132688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 color</c:v>
                </c:pt>
              </c:strCache>
            </c:strRef>
          </c:tx>
          <c:spPr>
            <a:solidFill>
              <a:srgbClr val="FF671C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747-AEB2-46BA1326881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 color</c:v>
                </c:pt>
              </c:strCache>
            </c:strRef>
          </c:tx>
          <c:spPr>
            <a:solidFill>
              <a:srgbClr val="F8991C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5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747-AEB2-46BA1326881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 color</c:v>
                </c:pt>
              </c:strCache>
            </c:strRef>
          </c:tx>
          <c:spPr>
            <a:solidFill>
              <a:srgbClr val="F8CF91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</c:v>
                </c:pt>
                <c:pt idx="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6D0-4747-AEB2-46BA1326881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5 color</c:v>
                </c:pt>
              </c:strCache>
            </c:strRef>
          </c:tx>
          <c:spPr>
            <a:solidFill>
              <a:srgbClr val="4C709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4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D0-4747-AEB2-46BA1326881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6 color</c:v>
                </c:pt>
              </c:strCache>
            </c:strRef>
          </c:tx>
          <c:spPr>
            <a:solidFill>
              <a:srgbClr val="0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6D0-4747-AEB2-46BA13268819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36D0-4747-AEB2-46BA13268819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>
                  <c:v>6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6D0-4747-AEB2-46BA13268819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7 color</c:v>
                </c:pt>
              </c:strCache>
            </c:strRef>
          </c:tx>
          <c:spPr>
            <a:solidFill>
              <a:srgbClr val="8F133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F133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6D0-4747-AEB2-46BA13268819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H$2:$H$3</c:f>
              <c:numCache>
                <c:formatCode>General</c:formatCode>
                <c:ptCount val="2"/>
                <c:pt idx="0">
                  <c:v>4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6D0-4747-AEB2-46BA132688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78063408"/>
        <c:axId val="1298492384"/>
      </c:barChart>
      <c:catAx>
        <c:axId val="1078063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98492384"/>
        <c:crosses val="autoZero"/>
        <c:auto val="1"/>
        <c:lblAlgn val="ctr"/>
        <c:lblOffset val="100"/>
        <c:noMultiLvlLbl val="0"/>
      </c:catAx>
      <c:valAx>
        <c:axId val="1298492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78063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C1462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752-4194-A01D-CBE87F6C44B1}"/>
              </c:ext>
            </c:extLst>
          </c:dPt>
          <c:dPt>
            <c:idx val="1"/>
            <c:bubble3D val="0"/>
            <c:spPr>
              <a:solidFill>
                <a:srgbClr val="FF671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752-4194-A01D-CBE87F6C44B1}"/>
              </c:ext>
            </c:extLst>
          </c:dPt>
          <c:dPt>
            <c:idx val="2"/>
            <c:bubble3D val="0"/>
            <c:spPr>
              <a:solidFill>
                <a:srgbClr val="F8991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752-4194-A01D-CBE87F6C44B1}"/>
              </c:ext>
            </c:extLst>
          </c:dPt>
          <c:dPt>
            <c:idx val="3"/>
            <c:bubble3D val="0"/>
            <c:spPr>
              <a:solidFill>
                <a:srgbClr val="F8CF9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752-4194-A01D-CBE87F6C44B1}"/>
              </c:ext>
            </c:extLst>
          </c:dPt>
          <c:dPt>
            <c:idx val="4"/>
            <c:bubble3D val="0"/>
            <c:spPr>
              <a:solidFill>
                <a:srgbClr val="4C709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752-4194-A01D-CBE87F6C44B1}"/>
              </c:ext>
            </c:extLst>
          </c:dPt>
          <c:dPt>
            <c:idx val="5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752-4194-A01D-CBE87F6C44B1}"/>
              </c:ext>
            </c:extLst>
          </c:dPt>
          <c:dPt>
            <c:idx val="6"/>
            <c:bubble3D val="0"/>
            <c:spPr>
              <a:solidFill>
                <a:srgbClr val="8F133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2752-4194-A01D-CBE87F6C44B1}"/>
              </c:ext>
            </c:extLst>
          </c:dPt>
          <c:dPt>
            <c:idx val="7"/>
            <c:bubble3D val="0"/>
            <c:spPr>
              <a:solidFill>
                <a:srgbClr val="447C5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2752-4194-A01D-CBE87F6C44B1}"/>
              </c:ext>
            </c:extLst>
          </c:dPt>
          <c:cat>
            <c:strRef>
              <c:f>Sheet1!$A$2:$A$9</c:f>
              <c:strCache>
                <c:ptCount val="8"/>
                <c:pt idx="0">
                  <c:v>1 color</c:v>
                </c:pt>
                <c:pt idx="1">
                  <c:v>2 color</c:v>
                </c:pt>
                <c:pt idx="2">
                  <c:v>3 color</c:v>
                </c:pt>
                <c:pt idx="3">
                  <c:v>4 color</c:v>
                </c:pt>
                <c:pt idx="4">
                  <c:v>5 color</c:v>
                </c:pt>
                <c:pt idx="5">
                  <c:v>6 color</c:v>
                </c:pt>
                <c:pt idx="6">
                  <c:v>7 color</c:v>
                </c:pt>
                <c:pt idx="7">
                  <c:v>8 color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2752-4194-A01D-CBE87F6C44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5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akeup Water by Process</c:v>
                </c:pt>
              </c:strCache>
            </c:strRef>
          </c:tx>
          <c:explosion val="12"/>
          <c:dPt>
            <c:idx val="0"/>
            <c:bubble3D val="0"/>
            <c:spPr>
              <a:solidFill>
                <a:schemeClr val="accent1">
                  <a:shade val="53000"/>
                  <a:alpha val="90000"/>
                </a:schemeClr>
              </a:solidFill>
              <a:ln w="19050">
                <a:solidFill>
                  <a:schemeClr val="accent1">
                    <a:shade val="53000"/>
                    <a:lumMod val="75000"/>
                  </a:schemeClr>
                </a:solidFill>
              </a:ln>
              <a:effectLst>
                <a:innerShdw blurRad="114300">
                  <a:schemeClr val="accent1">
                    <a:shade val="53000"/>
                    <a:lumMod val="75000"/>
                  </a:schemeClr>
                </a:innerShdw>
              </a:effectLst>
              <a:scene3d>
                <a:camera prst="orthographicFront"/>
                <a:lightRig rig="threePt" dir="t"/>
              </a:scene3d>
              <a:sp3d contourW="19050" prstMaterial="flat">
                <a:contourClr>
                  <a:schemeClr val="accent1">
                    <a:shade val="53000"/>
                    <a:lumMod val="75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C7F-4788-9962-02FE123E021F}"/>
              </c:ext>
            </c:extLst>
          </c:dPt>
          <c:dPt>
            <c:idx val="1"/>
            <c:bubble3D val="0"/>
            <c:explosion val="11"/>
            <c:spPr>
              <a:solidFill>
                <a:schemeClr val="accent1">
                  <a:shade val="76000"/>
                  <a:alpha val="90000"/>
                </a:schemeClr>
              </a:solidFill>
              <a:ln w="19050">
                <a:solidFill>
                  <a:schemeClr val="accent1">
                    <a:shade val="76000"/>
                    <a:lumMod val="75000"/>
                  </a:schemeClr>
                </a:solidFill>
              </a:ln>
              <a:effectLst>
                <a:innerShdw blurRad="114300">
                  <a:schemeClr val="accent1">
                    <a:shade val="76000"/>
                    <a:lumMod val="75000"/>
                  </a:schemeClr>
                </a:innerShdw>
              </a:effectLst>
              <a:scene3d>
                <a:camera prst="orthographicFront"/>
                <a:lightRig rig="threePt" dir="t"/>
              </a:scene3d>
              <a:sp3d contourW="19050" prstMaterial="flat">
                <a:contourClr>
                  <a:schemeClr val="accent1">
                    <a:shade val="76000"/>
                    <a:lumMod val="75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0-5BB7-499B-8BFA-EB465D8E8290}"/>
              </c:ext>
            </c:extLst>
          </c:dPt>
          <c:dPt>
            <c:idx val="2"/>
            <c:bubble3D val="0"/>
            <c:spPr>
              <a:solidFill>
                <a:schemeClr val="accent1">
                  <a:alpha val="90000"/>
                </a:schemeClr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  <a:effectLst>
                <a:innerShdw blurRad="114300">
                  <a:schemeClr val="accent1">
                    <a:lumMod val="75000"/>
                  </a:schemeClr>
                </a:innerShdw>
              </a:effectLst>
              <a:scene3d>
                <a:camera prst="orthographicFront"/>
                <a:lightRig rig="threePt" dir="t"/>
              </a:scene3d>
              <a:sp3d contourW="19050" prstMaterial="flat">
                <a:contourClr>
                  <a:schemeClr val="accent1">
                    <a:lumMod val="75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5BB7-499B-8BFA-EB465D8E8290}"/>
              </c:ext>
            </c:extLst>
          </c:dPt>
          <c:dPt>
            <c:idx val="3"/>
            <c:bubble3D val="0"/>
            <c:spPr>
              <a:solidFill>
                <a:schemeClr val="accent1">
                  <a:tint val="77000"/>
                  <a:alpha val="90000"/>
                </a:schemeClr>
              </a:solidFill>
              <a:ln w="19050">
                <a:solidFill>
                  <a:schemeClr val="accent1">
                    <a:tint val="77000"/>
                    <a:lumMod val="75000"/>
                  </a:schemeClr>
                </a:solidFill>
              </a:ln>
              <a:effectLst>
                <a:innerShdw blurRad="114300">
                  <a:schemeClr val="accent1">
                    <a:tint val="77000"/>
                    <a:lumMod val="75000"/>
                  </a:schemeClr>
                </a:innerShdw>
              </a:effectLst>
              <a:scene3d>
                <a:camera prst="orthographicFront"/>
                <a:lightRig rig="threePt" dir="t"/>
              </a:scene3d>
              <a:sp3d contourW="19050" prstMaterial="flat">
                <a:contourClr>
                  <a:schemeClr val="accent1">
                    <a:tint val="77000"/>
                    <a:lumMod val="75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5BB7-499B-8BFA-EB465D8E8290}"/>
              </c:ext>
            </c:extLst>
          </c:dPt>
          <c:dPt>
            <c:idx val="4"/>
            <c:bubble3D val="0"/>
            <c:spPr>
              <a:solidFill>
                <a:schemeClr val="accent1">
                  <a:tint val="54000"/>
                  <a:alpha val="90000"/>
                </a:schemeClr>
              </a:solidFill>
              <a:ln w="19050">
                <a:solidFill>
                  <a:schemeClr val="accent1">
                    <a:tint val="54000"/>
                    <a:lumMod val="75000"/>
                  </a:schemeClr>
                </a:solidFill>
              </a:ln>
              <a:effectLst>
                <a:innerShdw blurRad="114300">
                  <a:schemeClr val="accent1">
                    <a:tint val="54000"/>
                    <a:lumMod val="75000"/>
                  </a:schemeClr>
                </a:innerShdw>
              </a:effectLst>
              <a:scene3d>
                <a:camera prst="orthographicFront"/>
                <a:lightRig rig="threePt" dir="t"/>
              </a:scene3d>
              <a:sp3d contourW="19050" prstMaterial="flat">
                <a:contourClr>
                  <a:schemeClr val="accent1">
                    <a:tint val="54000"/>
                    <a:lumMod val="75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59B4-4209-A9D9-D926D1BB822F}"/>
              </c:ext>
            </c:extLst>
          </c:dPt>
          <c:dLbls>
            <c:dLbl>
              <c:idx val="0"/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0" i="0" u="none" strike="noStrike" kern="1200" baseline="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defRPr>
                    </a:pPr>
                    <a:fld id="{C9CB7AC6-8999-4C04-858A-0263DBFE1DB8}" type="CATEGORYNAME">
                      <a:rPr lang="en-US"/>
                      <a:pPr>
                        <a:defRPr>
                          <a:solidFill>
                            <a:schemeClr val="accent1"/>
                          </a:solidFill>
                        </a:defRPr>
                      </a:pPr>
                      <a:t>[CATEGORY NAME]</a:t>
                    </a:fld>
                    <a:r>
                      <a:rPr lang="en-US" baseline="0"/>
                      <a:t>
</a:t>
                    </a:r>
                    <a:r>
                      <a:rPr lang="en-US" baseline="0" dirty="0"/>
                      <a:t>7</a:t>
                    </a:r>
                    <a:r>
                      <a:rPr lang="en-US" baseline="0"/>
                      <a:t>%</a:t>
                    </a:r>
                  </a:p>
                </c:rich>
              </c:tx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1">
                      <a:shade val="53000"/>
                    </a:schemeClr>
                  </a:solidFill>
                  <a:round/>
                </a:ln>
                <a:effectLst>
                  <a:outerShdw blurRad="50800" dist="38100" dir="2700000" algn="tl" rotWithShape="0">
                    <a:schemeClr val="accent1">
                      <a:shade val="53000"/>
                      <a:lumMod val="75000"/>
                      <a:alpha val="40000"/>
                    </a:scheme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0" i="0" u="none" strike="noStrike" kern="1200" baseline="0">
                      <a:solidFill>
                        <a:schemeClr val="accent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C7F-4788-9962-02FE123E021F}"/>
                </c:ext>
              </c:extLst>
            </c:dLbl>
            <c:dLbl>
              <c:idx val="1"/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0" i="0" u="none" strike="noStrike" kern="1200" baseline="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defRPr>
                    </a:pPr>
                    <a:fld id="{DE75BB64-7159-41EB-A079-268305B999B3}" type="CATEGORYNAME">
                      <a:rPr lang="en-US"/>
                      <a:pPr>
                        <a:defRPr>
                          <a:solidFill>
                            <a:schemeClr val="accent1"/>
                          </a:solidFill>
                        </a:defRPr>
                      </a:pPr>
                      <a:t>[CATEGORY NAME]</a:t>
                    </a:fld>
                    <a:r>
                      <a:rPr lang="en-US" baseline="0" dirty="0"/>
                      <a:t>
70%</a:t>
                    </a:r>
                  </a:p>
                </c:rich>
              </c:tx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1">
                      <a:shade val="76000"/>
                    </a:schemeClr>
                  </a:solidFill>
                  <a:round/>
                </a:ln>
                <a:effectLst>
                  <a:outerShdw blurRad="50800" dist="38100" dir="2700000" algn="tl" rotWithShape="0">
                    <a:schemeClr val="accent1">
                      <a:shade val="76000"/>
                      <a:lumMod val="75000"/>
                      <a:alpha val="40000"/>
                    </a:scheme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0" i="0" u="none" strike="noStrike" kern="1200" baseline="0">
                      <a:solidFill>
                        <a:schemeClr val="accent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5BB7-499B-8BFA-EB465D8E8290}"/>
                </c:ext>
              </c:extLst>
            </c:dLbl>
            <c:dLbl>
              <c:idx val="2"/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0" i="0" u="none" strike="noStrike" kern="1200" baseline="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defRPr>
                    </a:pPr>
                    <a:fld id="{ACBC65A7-0212-4DBC-A328-D3A3BBC6D5F2}" type="CATEGORYNAME">
                      <a:rPr lang="en-US" dirty="0"/>
                      <a:pPr>
                        <a:defRPr>
                          <a:solidFill>
                            <a:schemeClr val="accent1"/>
                          </a:solidFill>
                        </a:defRPr>
                      </a:pPr>
                      <a:t>[CATEGORY NAME]</a:t>
                    </a:fld>
                    <a:r>
                      <a:rPr lang="en-US" baseline="0" dirty="0"/>
                      <a:t>
9%</a:t>
                    </a:r>
                  </a:p>
                </c:rich>
              </c:tx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1"/>
                  </a:solidFill>
                  <a:round/>
                </a:ln>
                <a:effectLst>
                  <a:outerShdw blurRad="50800" dist="38100" dir="2700000" algn="tl" rotWithShape="0">
                    <a:schemeClr val="accent1">
                      <a:lumMod val="75000"/>
                      <a:alpha val="40000"/>
                    </a:scheme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0" i="0" u="none" strike="noStrike" kern="1200" baseline="0">
                      <a:solidFill>
                        <a:schemeClr val="accent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BB7-499B-8BFA-EB465D8E8290}"/>
                </c:ext>
              </c:extLst>
            </c:dLbl>
            <c:dLbl>
              <c:idx val="3"/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0" i="0" u="none" strike="noStrike" kern="1200" baseline="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defRPr>
                    </a:pPr>
                    <a:fld id="{101DE522-8A38-4EFF-8BE5-6F641FE54DF9}" type="CATEGORYNAME">
                      <a:rPr lang="en-US" smtClean="0"/>
                      <a:pPr>
                        <a:defRPr>
                          <a:solidFill>
                            <a:schemeClr val="accent1"/>
                          </a:solidFill>
                        </a:defRPr>
                      </a:pPr>
                      <a:t>[CATEGORY NAME]</a:t>
                    </a:fld>
                    <a:r>
                      <a:rPr lang="en-US" baseline="0" dirty="0"/>
                      <a:t>  5%</a:t>
                    </a:r>
                  </a:p>
                </c:rich>
              </c:tx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1">
                      <a:tint val="77000"/>
                    </a:schemeClr>
                  </a:solidFill>
                  <a:round/>
                </a:ln>
                <a:effectLst>
                  <a:outerShdw blurRad="50800" dist="38100" dir="2700000" algn="tl" rotWithShape="0">
                    <a:schemeClr val="accent1">
                      <a:tint val="77000"/>
                      <a:lumMod val="75000"/>
                      <a:alpha val="40000"/>
                    </a:scheme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0" i="0" u="none" strike="noStrike" kern="1200" baseline="0">
                      <a:solidFill>
                        <a:schemeClr val="accent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5BB7-499B-8BFA-EB465D8E8290}"/>
                </c:ext>
              </c:extLst>
            </c:dLbl>
            <c:dLbl>
              <c:idx val="4"/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0" i="0" u="none" strike="noStrike" kern="1200" baseline="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defRPr>
                    </a:pPr>
                    <a:fld id="{8923E770-73A6-45B5-A8C5-0FCCE3A47CFD}" type="CATEGORYNAME">
                      <a:rPr lang="en-US"/>
                      <a:pPr>
                        <a:defRPr>
                          <a:solidFill>
                            <a:schemeClr val="accent1"/>
                          </a:solidFill>
                        </a:defRPr>
                      </a:pPr>
                      <a:t>[CATEGORY NAME]</a:t>
                    </a:fld>
                    <a:r>
                      <a:rPr lang="en-US" baseline="0"/>
                      <a:t>
9%</a:t>
                    </a:r>
                  </a:p>
                </c:rich>
              </c:tx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1">
                      <a:tint val="54000"/>
                    </a:schemeClr>
                  </a:solidFill>
                  <a:round/>
                </a:ln>
                <a:effectLst>
                  <a:outerShdw blurRad="50800" dist="38100" dir="2700000" algn="tl" rotWithShape="0">
                    <a:schemeClr val="accent1">
                      <a:tint val="54000"/>
                      <a:lumMod val="75000"/>
                      <a:alpha val="40000"/>
                    </a:scheme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0" i="0" u="none" strike="noStrike" kern="1200" baseline="0">
                      <a:solidFill>
                        <a:schemeClr val="accent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9B4-4209-A9D9-D926D1BB822F}"/>
                </c:ext>
              </c:extLst>
            </c:dLbl>
            <c:spPr>
              <a:solidFill>
                <a:srgbClr val="FFFFFF">
                  <a:alpha val="90000"/>
                </a:srgbClr>
              </a:solidFill>
              <a:ln w="12700" cap="flat" cmpd="sng" algn="ctr">
                <a:solidFill>
                  <a:srgbClr val="D34727"/>
                </a:solidFill>
                <a:round/>
              </a:ln>
              <a:effectLst>
                <a:outerShdw blurRad="50800" dist="38100" dir="2700000" algn="tl" rotWithShape="0">
                  <a:srgbClr val="D34727">
                    <a:lumMod val="75000"/>
                    <a:alpha val="40000"/>
                  </a:srgbClr>
                </a:outerShdw>
              </a:effectLst>
            </c:sp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Mine</c:v>
                </c:pt>
                <c:pt idx="1">
                  <c:v>Concentrator</c:v>
                </c:pt>
                <c:pt idx="2">
                  <c:v>SXEW &amp; Leach</c:v>
                </c:pt>
                <c:pt idx="3">
                  <c:v>CLP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574</c:v>
                </c:pt>
                <c:pt idx="1">
                  <c:v>17338</c:v>
                </c:pt>
                <c:pt idx="2">
                  <c:v>4853</c:v>
                </c:pt>
                <c:pt idx="3">
                  <c:v>1392</c:v>
                </c:pt>
                <c:pt idx="4">
                  <c:v>28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B7-499B-8BFA-EB465D8E8290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1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3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>
      <cs:styleClr val="auto"/>
    </cs:lnRef>
    <cs:fillRef idx="0"/>
    <cs:effectRef idx="0">
      <cs:styleClr val="auto"/>
    </cs:effectRef>
    <cs:fontRef idx="minor">
      <cs:styleClr val="auto"/>
    </cs:fontRef>
    <cs:spPr>
      <a:solidFill>
        <a:schemeClr val="lt1">
          <a:alpha val="90000"/>
        </a:schemeClr>
      </a:solidFill>
      <a:ln w="12700" cap="flat" cmpd="sng" algn="ctr">
        <a:solidFill>
          <a:schemeClr val="phClr"/>
        </a:solidFill>
        <a:round/>
      </a:ln>
      <a:effectLst>
        <a:outerShdw blurRad="50800" dist="38100" dir="2700000" algn="tl" rotWithShape="0">
          <a:schemeClr val="phClr">
            <a:lumMod val="75000"/>
            <a:alpha val="40000"/>
          </a:schemeClr>
        </a:outerShdw>
      </a:effectLst>
    </cs:spPr>
    <cs:defRPr sz="1330" b="0" i="0" u="none" strike="noStrike" kern="1200" baseline="0">
      <a:effectLst/>
    </cs:defRPr>
    <cs:bodyPr rot="0" spcFirstLastPara="1" vertOverflow="clip" horzOverflow="clip" vert="horz" wrap="square" lIns="38100" tIns="19050" rIns="38100" bIns="19050" anchor="ctr" anchorCtr="1">
      <a:spAutoFit/>
    </cs:bodyPr>
  </cs:dataLabel>
  <cs:dataLabelCallout>
    <cs:lnRef idx="0">
      <cs:styleClr val="auto"/>
    </cs:lnRef>
    <cs:fillRef idx="0"/>
    <cs:effectRef idx="0">
      <cs:styleClr val="auto"/>
    </cs:effectRef>
    <cs:fontRef idx="minor">
      <cs:styleClr val="auto"/>
    </cs:fontRef>
    <cs:spPr>
      <a:solidFill>
        <a:schemeClr val="lt1">
          <a:alpha val="90000"/>
        </a:schemeClr>
      </a:solidFill>
      <a:ln w="12700" cap="flat" cmpd="sng" algn="ctr">
        <a:solidFill>
          <a:schemeClr val="phClr"/>
        </a:solidFill>
        <a:round/>
      </a:ln>
      <a:effectLst>
        <a:outerShdw blurRad="50800" dist="38100" dir="2700000" algn="tl" rotWithShape="0">
          <a:schemeClr val="phClr">
            <a:lumMod val="75000"/>
            <a:alpha val="40000"/>
          </a:schemeClr>
        </a:outerShdw>
      </a:effectLst>
    </cs:spPr>
    <cs:defRPr sz="1330" b="0" i="0" u="none" strike="noStrike" kern="1200" baseline="0">
      <a:effectLst/>
    </cs:defRPr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tx1"/>
    </cs:fontRef>
    <cs:spPr>
      <a:solidFill>
        <a:schemeClr val="phClr">
          <a:alpha val="90000"/>
        </a:schemeClr>
      </a:solidFill>
      <a:ln w="19050">
        <a:solidFill>
          <a:schemeClr val="phClr">
            <a:lumMod val="75000"/>
          </a:schemeClr>
        </a:solidFill>
      </a:ln>
      <a:effectLst>
        <a:innerShdw blurRad="114300">
          <a:schemeClr val="phClr">
            <a:lumMod val="75000"/>
          </a:schemeClr>
        </a:innerShdw>
      </a:effectLst>
      <a:scene3d>
        <a:camera prst="orthographicFront"/>
        <a:lightRig rig="threePt" dir="t"/>
      </a:scene3d>
      <a:sp3d contourW="19050" prstMaterial="flat">
        <a:contourClr>
          <a:schemeClr val="accent4">
            <a:lumMod val="75000"/>
          </a:schemeClr>
        </a:contourClr>
      </a:sp3d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C1B7EE5-2C00-41D5-8552-7AB7DA3656D2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A3114E66-27E8-4BF5-83F0-DF4CF5A1C945}">
      <dgm:prSet/>
      <dgm:spPr/>
      <dgm:t>
        <a:bodyPr/>
        <a:lstStyle/>
        <a:p>
          <a:r>
            <a:rPr lang="en-US"/>
            <a:t>Our Location</a:t>
          </a:r>
        </a:p>
      </dgm:t>
    </dgm:pt>
    <dgm:pt modelId="{F5D9BA04-7D13-487E-98A9-6F9335A1FAFF}" type="parTrans" cxnId="{42EAC3AA-F48E-4795-96DE-0EC153FD5D62}">
      <dgm:prSet/>
      <dgm:spPr/>
      <dgm:t>
        <a:bodyPr/>
        <a:lstStyle/>
        <a:p>
          <a:endParaRPr lang="en-US"/>
        </a:p>
      </dgm:t>
    </dgm:pt>
    <dgm:pt modelId="{79CA976D-B31A-4B70-8054-2D33C987BBDD}" type="sibTrans" cxnId="{42EAC3AA-F48E-4795-96DE-0EC153FD5D62}">
      <dgm:prSet/>
      <dgm:spPr/>
      <dgm:t>
        <a:bodyPr/>
        <a:lstStyle/>
        <a:p>
          <a:endParaRPr lang="en-US"/>
        </a:p>
      </dgm:t>
    </dgm:pt>
    <dgm:pt modelId="{BDC9B999-87C0-49EA-AC18-FCA71618CB32}">
      <dgm:prSet/>
      <dgm:spPr/>
      <dgm:t>
        <a:bodyPr/>
        <a:lstStyle/>
        <a:p>
          <a:r>
            <a:rPr lang="en-US"/>
            <a:t>Roles</a:t>
          </a:r>
        </a:p>
      </dgm:t>
    </dgm:pt>
    <dgm:pt modelId="{A3819981-712E-4DC6-A8D5-DFCE88C37EED}" type="parTrans" cxnId="{AE79C30E-19C1-40BF-9779-3C8410B9C29E}">
      <dgm:prSet/>
      <dgm:spPr/>
      <dgm:t>
        <a:bodyPr/>
        <a:lstStyle/>
        <a:p>
          <a:endParaRPr lang="en-US"/>
        </a:p>
      </dgm:t>
    </dgm:pt>
    <dgm:pt modelId="{CA83CCF1-3882-48DF-9BD4-89BF27A49B16}" type="sibTrans" cxnId="{AE79C30E-19C1-40BF-9779-3C8410B9C29E}">
      <dgm:prSet/>
      <dgm:spPr/>
      <dgm:t>
        <a:bodyPr/>
        <a:lstStyle/>
        <a:p>
          <a:endParaRPr lang="en-US"/>
        </a:p>
      </dgm:t>
    </dgm:pt>
    <dgm:pt modelId="{5A62C979-1B9A-4ECE-81E5-DA060BB77E9D}">
      <dgm:prSet/>
      <dgm:spPr/>
      <dgm:t>
        <a:bodyPr/>
        <a:lstStyle/>
        <a:p>
          <a:r>
            <a:rPr lang="en-US"/>
            <a:t>ISO 14001 (EMS)</a:t>
          </a:r>
        </a:p>
      </dgm:t>
    </dgm:pt>
    <dgm:pt modelId="{74974879-BD47-4231-B8F6-72E177137BA7}" type="parTrans" cxnId="{3B5B7671-B0AC-4F63-8B0D-555839E4AD32}">
      <dgm:prSet/>
      <dgm:spPr/>
      <dgm:t>
        <a:bodyPr/>
        <a:lstStyle/>
        <a:p>
          <a:endParaRPr lang="en-US"/>
        </a:p>
      </dgm:t>
    </dgm:pt>
    <dgm:pt modelId="{C9D13A2E-590C-4C0E-8839-AAD1BA37131C}" type="sibTrans" cxnId="{3B5B7671-B0AC-4F63-8B0D-555839E4AD32}">
      <dgm:prSet/>
      <dgm:spPr/>
      <dgm:t>
        <a:bodyPr/>
        <a:lstStyle/>
        <a:p>
          <a:endParaRPr lang="en-US"/>
        </a:p>
      </dgm:t>
    </dgm:pt>
    <dgm:pt modelId="{C8E2C7D8-C67F-47DF-AFA9-0856CBEFC73E}">
      <dgm:prSet/>
      <dgm:spPr/>
      <dgm:t>
        <a:bodyPr/>
        <a:lstStyle/>
        <a:p>
          <a:r>
            <a:rPr lang="en-US"/>
            <a:t>Spills</a:t>
          </a:r>
        </a:p>
      </dgm:t>
    </dgm:pt>
    <dgm:pt modelId="{A7B5705B-3C1F-4A41-A5ED-F656D8F9E241}" type="parTrans" cxnId="{538E956B-DD8A-4BDD-9865-EFE393CD6D91}">
      <dgm:prSet/>
      <dgm:spPr/>
      <dgm:t>
        <a:bodyPr/>
        <a:lstStyle/>
        <a:p>
          <a:endParaRPr lang="en-US"/>
        </a:p>
      </dgm:t>
    </dgm:pt>
    <dgm:pt modelId="{6609490C-9F93-407C-91D6-65D3A7917B54}" type="sibTrans" cxnId="{538E956B-DD8A-4BDD-9865-EFE393CD6D91}">
      <dgm:prSet/>
      <dgm:spPr/>
      <dgm:t>
        <a:bodyPr/>
        <a:lstStyle/>
        <a:p>
          <a:endParaRPr lang="en-US"/>
        </a:p>
      </dgm:t>
    </dgm:pt>
    <dgm:pt modelId="{9DC94F0D-1B2E-430E-BB79-C44F1301B0B4}">
      <dgm:prSet/>
      <dgm:spPr/>
      <dgm:t>
        <a:bodyPr/>
        <a:lstStyle/>
        <a:p>
          <a:r>
            <a:rPr lang="en-US"/>
            <a:t>Policy</a:t>
          </a:r>
        </a:p>
      </dgm:t>
    </dgm:pt>
    <dgm:pt modelId="{10735EAB-2A51-49B4-976C-5C4F0F8D93E3}" type="parTrans" cxnId="{D2F6F591-193C-4FBD-9CFC-18FD4F1B95E2}">
      <dgm:prSet/>
      <dgm:spPr/>
      <dgm:t>
        <a:bodyPr/>
        <a:lstStyle/>
        <a:p>
          <a:endParaRPr lang="en-US"/>
        </a:p>
      </dgm:t>
    </dgm:pt>
    <dgm:pt modelId="{5CBD86CE-E628-475D-9C99-6255B733FF31}" type="sibTrans" cxnId="{D2F6F591-193C-4FBD-9CFC-18FD4F1B95E2}">
      <dgm:prSet/>
      <dgm:spPr/>
      <dgm:t>
        <a:bodyPr/>
        <a:lstStyle/>
        <a:p>
          <a:endParaRPr lang="en-US"/>
        </a:p>
      </dgm:t>
    </dgm:pt>
    <dgm:pt modelId="{7D7928A3-2BBE-48EE-92B0-D51D83584887}">
      <dgm:prSet/>
      <dgm:spPr/>
      <dgm:t>
        <a:bodyPr/>
        <a:lstStyle/>
        <a:p>
          <a:r>
            <a:rPr lang="en-US"/>
            <a:t>Environmental Objectives</a:t>
          </a:r>
        </a:p>
      </dgm:t>
    </dgm:pt>
    <dgm:pt modelId="{0B5434D6-370E-4456-93EB-7625F8E2DDE1}" type="parTrans" cxnId="{4C934846-01B3-41F3-A87C-5B25BC895790}">
      <dgm:prSet/>
      <dgm:spPr/>
      <dgm:t>
        <a:bodyPr/>
        <a:lstStyle/>
        <a:p>
          <a:endParaRPr lang="en-US"/>
        </a:p>
      </dgm:t>
    </dgm:pt>
    <dgm:pt modelId="{A783A6D8-EB25-41E5-BD67-CC995B848428}" type="sibTrans" cxnId="{4C934846-01B3-41F3-A87C-5B25BC895790}">
      <dgm:prSet/>
      <dgm:spPr/>
      <dgm:t>
        <a:bodyPr/>
        <a:lstStyle/>
        <a:p>
          <a:endParaRPr lang="en-US"/>
        </a:p>
      </dgm:t>
    </dgm:pt>
    <dgm:pt modelId="{EEAC991C-EDBB-4984-A365-457422C97DCF}">
      <dgm:prSet/>
      <dgm:spPr/>
      <dgm:t>
        <a:bodyPr/>
        <a:lstStyle/>
        <a:p>
          <a:r>
            <a:rPr lang="en-US"/>
            <a:t>Chemical/SDS</a:t>
          </a:r>
        </a:p>
      </dgm:t>
    </dgm:pt>
    <dgm:pt modelId="{7601E5A4-1D1D-4E45-9C1D-3083CEC8FA16}" type="parTrans" cxnId="{1CC45DBD-A659-47D4-B808-E7C924C2F855}">
      <dgm:prSet/>
      <dgm:spPr/>
      <dgm:t>
        <a:bodyPr/>
        <a:lstStyle/>
        <a:p>
          <a:endParaRPr lang="en-US"/>
        </a:p>
      </dgm:t>
    </dgm:pt>
    <dgm:pt modelId="{DA4FB50C-7D20-495D-BAF6-16FA5E21702F}" type="sibTrans" cxnId="{1CC45DBD-A659-47D4-B808-E7C924C2F855}">
      <dgm:prSet/>
      <dgm:spPr/>
      <dgm:t>
        <a:bodyPr/>
        <a:lstStyle/>
        <a:p>
          <a:endParaRPr lang="en-US"/>
        </a:p>
      </dgm:t>
    </dgm:pt>
    <dgm:pt modelId="{1746E7FA-2A89-43A0-BD8E-B115572D7F0F}">
      <dgm:prSet/>
      <dgm:spPr/>
      <dgm:t>
        <a:bodyPr/>
        <a:lstStyle/>
        <a:p>
          <a:r>
            <a:rPr lang="en-US"/>
            <a:t>Environmental Significant Risks (ESR)</a:t>
          </a:r>
        </a:p>
      </dgm:t>
    </dgm:pt>
    <dgm:pt modelId="{F0B6C481-111E-45D6-8236-CAEB13CDD5FC}" type="parTrans" cxnId="{B9F66863-080A-4FAC-B8C3-746A0C8BF5B6}">
      <dgm:prSet/>
      <dgm:spPr/>
      <dgm:t>
        <a:bodyPr/>
        <a:lstStyle/>
        <a:p>
          <a:endParaRPr lang="en-US"/>
        </a:p>
      </dgm:t>
    </dgm:pt>
    <dgm:pt modelId="{62FE2403-547E-487F-A793-9B3A8E36C4E7}" type="sibTrans" cxnId="{B9F66863-080A-4FAC-B8C3-746A0C8BF5B6}">
      <dgm:prSet/>
      <dgm:spPr/>
      <dgm:t>
        <a:bodyPr/>
        <a:lstStyle/>
        <a:p>
          <a:endParaRPr lang="en-US"/>
        </a:p>
      </dgm:t>
    </dgm:pt>
    <dgm:pt modelId="{4D0542A0-742D-43BB-9CB7-2AAB47FE6DB1}">
      <dgm:prSet/>
      <dgm:spPr/>
      <dgm:t>
        <a:bodyPr/>
        <a:lstStyle/>
        <a:p>
          <a:r>
            <a:rPr lang="en-US"/>
            <a:t>Air Quality</a:t>
          </a:r>
        </a:p>
      </dgm:t>
    </dgm:pt>
    <dgm:pt modelId="{373B73FC-3DE3-4A0F-8FF2-9FB59BC8515F}" type="parTrans" cxnId="{2E69722C-C5D5-42A9-9FED-42D00598534D}">
      <dgm:prSet/>
      <dgm:spPr/>
      <dgm:t>
        <a:bodyPr/>
        <a:lstStyle/>
        <a:p>
          <a:endParaRPr lang="en-US"/>
        </a:p>
      </dgm:t>
    </dgm:pt>
    <dgm:pt modelId="{AF3DD82B-3FCA-4AFA-B220-92028593EDF0}" type="sibTrans" cxnId="{2E69722C-C5D5-42A9-9FED-42D00598534D}">
      <dgm:prSet/>
      <dgm:spPr/>
      <dgm:t>
        <a:bodyPr/>
        <a:lstStyle/>
        <a:p>
          <a:endParaRPr lang="en-US"/>
        </a:p>
      </dgm:t>
    </dgm:pt>
    <dgm:pt modelId="{A1AFA44B-3053-42ED-8FFD-EA3674DB45B0}">
      <dgm:prSet/>
      <dgm:spPr/>
      <dgm:t>
        <a:bodyPr/>
        <a:lstStyle/>
        <a:p>
          <a:r>
            <a:rPr lang="en-US"/>
            <a:t>Waste Handling</a:t>
          </a:r>
        </a:p>
      </dgm:t>
    </dgm:pt>
    <dgm:pt modelId="{C1ED37D9-672C-4156-B420-EFBDF910C053}" type="parTrans" cxnId="{BA1DBD57-8ECE-481A-A194-04A05EC49BDE}">
      <dgm:prSet/>
      <dgm:spPr/>
      <dgm:t>
        <a:bodyPr/>
        <a:lstStyle/>
        <a:p>
          <a:endParaRPr lang="en-US"/>
        </a:p>
      </dgm:t>
    </dgm:pt>
    <dgm:pt modelId="{9FC157B7-B76C-460F-8FFE-A4FB529A85E2}" type="sibTrans" cxnId="{BA1DBD57-8ECE-481A-A194-04A05EC49BDE}">
      <dgm:prSet/>
      <dgm:spPr/>
      <dgm:t>
        <a:bodyPr/>
        <a:lstStyle/>
        <a:p>
          <a:endParaRPr lang="en-US"/>
        </a:p>
      </dgm:t>
    </dgm:pt>
    <dgm:pt modelId="{329E1CC3-A15C-487D-AF33-118730A624F7}">
      <dgm:prSet/>
      <dgm:spPr/>
      <dgm:t>
        <a:bodyPr/>
        <a:lstStyle/>
        <a:p>
          <a:r>
            <a:rPr lang="en-US"/>
            <a:t>Water Quality</a:t>
          </a:r>
        </a:p>
      </dgm:t>
    </dgm:pt>
    <dgm:pt modelId="{F4D28C67-482D-45A6-95CA-78C17F8D7DEA}" type="parTrans" cxnId="{63D61EB4-D91C-4E1D-880B-DCB9A3B3F1E4}">
      <dgm:prSet/>
      <dgm:spPr/>
      <dgm:t>
        <a:bodyPr/>
        <a:lstStyle/>
        <a:p>
          <a:endParaRPr lang="en-US"/>
        </a:p>
      </dgm:t>
    </dgm:pt>
    <dgm:pt modelId="{B3492A77-4A25-4C68-9918-E46D95592454}" type="sibTrans" cxnId="{63D61EB4-D91C-4E1D-880B-DCB9A3B3F1E4}">
      <dgm:prSet/>
      <dgm:spPr/>
      <dgm:t>
        <a:bodyPr/>
        <a:lstStyle/>
        <a:p>
          <a:endParaRPr lang="en-US"/>
        </a:p>
      </dgm:t>
    </dgm:pt>
    <dgm:pt modelId="{14FFD340-F915-4625-B0D3-AE4AD06D91DC}">
      <dgm:prSet/>
      <dgm:spPr/>
      <dgm:t>
        <a:bodyPr/>
        <a:lstStyle/>
        <a:p>
          <a:r>
            <a:rPr lang="en-US"/>
            <a:t>Wildlife Conservation</a:t>
          </a:r>
        </a:p>
      </dgm:t>
    </dgm:pt>
    <dgm:pt modelId="{376F01BC-3061-426D-9F54-20B305AA8AE3}" type="parTrans" cxnId="{D9FD4D41-B04C-4D21-85CC-4A14E86C4C3E}">
      <dgm:prSet/>
      <dgm:spPr/>
      <dgm:t>
        <a:bodyPr/>
        <a:lstStyle/>
        <a:p>
          <a:endParaRPr lang="en-US"/>
        </a:p>
      </dgm:t>
    </dgm:pt>
    <dgm:pt modelId="{0C306150-3FE2-4260-8223-99A4674D84D2}" type="sibTrans" cxnId="{D9FD4D41-B04C-4D21-85CC-4A14E86C4C3E}">
      <dgm:prSet/>
      <dgm:spPr/>
      <dgm:t>
        <a:bodyPr/>
        <a:lstStyle/>
        <a:p>
          <a:endParaRPr lang="en-US"/>
        </a:p>
      </dgm:t>
    </dgm:pt>
    <dgm:pt modelId="{FE741DBD-9B8E-435E-AC6D-D608285EF4E2}">
      <dgm:prSet/>
      <dgm:spPr/>
      <dgm:t>
        <a:bodyPr/>
        <a:lstStyle/>
        <a:p>
          <a:r>
            <a:rPr lang="en-US"/>
            <a:t>Cultural Heritage </a:t>
          </a:r>
        </a:p>
      </dgm:t>
    </dgm:pt>
    <dgm:pt modelId="{A277A2EE-7A04-474F-8464-3C28334B95C7}" type="parTrans" cxnId="{258323CC-DA01-4C2C-9BB6-82B2BF502613}">
      <dgm:prSet/>
      <dgm:spPr/>
      <dgm:t>
        <a:bodyPr/>
        <a:lstStyle/>
        <a:p>
          <a:endParaRPr lang="en-US"/>
        </a:p>
      </dgm:t>
    </dgm:pt>
    <dgm:pt modelId="{1804D62E-F442-46FD-A66A-D19CAE645E93}" type="sibTrans" cxnId="{258323CC-DA01-4C2C-9BB6-82B2BF502613}">
      <dgm:prSet/>
      <dgm:spPr/>
      <dgm:t>
        <a:bodyPr/>
        <a:lstStyle/>
        <a:p>
          <a:endParaRPr lang="en-US"/>
        </a:p>
      </dgm:t>
    </dgm:pt>
    <dgm:pt modelId="{8C65AEB0-E447-4211-9339-93414B4F64D4}" type="pres">
      <dgm:prSet presAssocID="{DC1B7EE5-2C00-41D5-8552-7AB7DA3656D2}" presName="vert0" presStyleCnt="0">
        <dgm:presLayoutVars>
          <dgm:dir/>
          <dgm:animOne val="branch"/>
          <dgm:animLvl val="lvl"/>
        </dgm:presLayoutVars>
      </dgm:prSet>
      <dgm:spPr/>
    </dgm:pt>
    <dgm:pt modelId="{E28CE0F9-F208-47A7-8846-4EEFFCD881CD}" type="pres">
      <dgm:prSet presAssocID="{A3114E66-27E8-4BF5-83F0-DF4CF5A1C945}" presName="thickLine" presStyleLbl="alignNode1" presStyleIdx="0" presStyleCnt="13"/>
      <dgm:spPr/>
    </dgm:pt>
    <dgm:pt modelId="{90B1E3EE-BAB1-4F8A-8B85-28F972CA9E56}" type="pres">
      <dgm:prSet presAssocID="{A3114E66-27E8-4BF5-83F0-DF4CF5A1C945}" presName="horz1" presStyleCnt="0"/>
      <dgm:spPr/>
    </dgm:pt>
    <dgm:pt modelId="{E0562219-C2BA-4DF5-98A9-C21290F1756D}" type="pres">
      <dgm:prSet presAssocID="{A3114E66-27E8-4BF5-83F0-DF4CF5A1C945}" presName="tx1" presStyleLbl="revTx" presStyleIdx="0" presStyleCnt="13"/>
      <dgm:spPr/>
    </dgm:pt>
    <dgm:pt modelId="{67CF6BA0-E757-42DA-BD8C-333F2907B6C3}" type="pres">
      <dgm:prSet presAssocID="{A3114E66-27E8-4BF5-83F0-DF4CF5A1C945}" presName="vert1" presStyleCnt="0"/>
      <dgm:spPr/>
    </dgm:pt>
    <dgm:pt modelId="{C4EDA85D-8FA3-4ED1-89B1-0CD009C93457}" type="pres">
      <dgm:prSet presAssocID="{BDC9B999-87C0-49EA-AC18-FCA71618CB32}" presName="thickLine" presStyleLbl="alignNode1" presStyleIdx="1" presStyleCnt="13"/>
      <dgm:spPr/>
    </dgm:pt>
    <dgm:pt modelId="{ED54F498-034A-4636-8BA6-D066CCE60381}" type="pres">
      <dgm:prSet presAssocID="{BDC9B999-87C0-49EA-AC18-FCA71618CB32}" presName="horz1" presStyleCnt="0"/>
      <dgm:spPr/>
    </dgm:pt>
    <dgm:pt modelId="{43E886B4-F1CF-4B89-99F6-354D42F8A08E}" type="pres">
      <dgm:prSet presAssocID="{BDC9B999-87C0-49EA-AC18-FCA71618CB32}" presName="tx1" presStyleLbl="revTx" presStyleIdx="1" presStyleCnt="13"/>
      <dgm:spPr/>
    </dgm:pt>
    <dgm:pt modelId="{50FD5820-BDC1-4AC7-9A57-5C8EA0A61085}" type="pres">
      <dgm:prSet presAssocID="{BDC9B999-87C0-49EA-AC18-FCA71618CB32}" presName="vert1" presStyleCnt="0"/>
      <dgm:spPr/>
    </dgm:pt>
    <dgm:pt modelId="{595EB086-C267-4A31-95A2-9D6522211C31}" type="pres">
      <dgm:prSet presAssocID="{5A62C979-1B9A-4ECE-81E5-DA060BB77E9D}" presName="thickLine" presStyleLbl="alignNode1" presStyleIdx="2" presStyleCnt="13"/>
      <dgm:spPr/>
    </dgm:pt>
    <dgm:pt modelId="{DAD51E4F-CA51-4CE0-B5F1-94CB695FF183}" type="pres">
      <dgm:prSet presAssocID="{5A62C979-1B9A-4ECE-81E5-DA060BB77E9D}" presName="horz1" presStyleCnt="0"/>
      <dgm:spPr/>
    </dgm:pt>
    <dgm:pt modelId="{0274B735-CB56-4CA2-8526-D77AC74C02F2}" type="pres">
      <dgm:prSet presAssocID="{5A62C979-1B9A-4ECE-81E5-DA060BB77E9D}" presName="tx1" presStyleLbl="revTx" presStyleIdx="2" presStyleCnt="13"/>
      <dgm:spPr/>
    </dgm:pt>
    <dgm:pt modelId="{4CAD0AC2-B5E5-462F-A63E-2F8872E5E878}" type="pres">
      <dgm:prSet presAssocID="{5A62C979-1B9A-4ECE-81E5-DA060BB77E9D}" presName="vert1" presStyleCnt="0"/>
      <dgm:spPr/>
    </dgm:pt>
    <dgm:pt modelId="{61F65614-8639-4518-AA11-49C6B496DECC}" type="pres">
      <dgm:prSet presAssocID="{C8E2C7D8-C67F-47DF-AFA9-0856CBEFC73E}" presName="thickLine" presStyleLbl="alignNode1" presStyleIdx="3" presStyleCnt="13"/>
      <dgm:spPr/>
    </dgm:pt>
    <dgm:pt modelId="{663A884A-826A-4722-B5F7-4A8CE2714EBD}" type="pres">
      <dgm:prSet presAssocID="{C8E2C7D8-C67F-47DF-AFA9-0856CBEFC73E}" presName="horz1" presStyleCnt="0"/>
      <dgm:spPr/>
    </dgm:pt>
    <dgm:pt modelId="{BE2D9F29-E51D-4ACA-BEF5-5A0F15BCF4F2}" type="pres">
      <dgm:prSet presAssocID="{C8E2C7D8-C67F-47DF-AFA9-0856CBEFC73E}" presName="tx1" presStyleLbl="revTx" presStyleIdx="3" presStyleCnt="13"/>
      <dgm:spPr/>
    </dgm:pt>
    <dgm:pt modelId="{ADE0AC9B-B0D6-46A3-903D-E9CE6C9C412F}" type="pres">
      <dgm:prSet presAssocID="{C8E2C7D8-C67F-47DF-AFA9-0856CBEFC73E}" presName="vert1" presStyleCnt="0"/>
      <dgm:spPr/>
    </dgm:pt>
    <dgm:pt modelId="{177894E6-5FD7-4710-8464-DE4316831E27}" type="pres">
      <dgm:prSet presAssocID="{9DC94F0D-1B2E-430E-BB79-C44F1301B0B4}" presName="thickLine" presStyleLbl="alignNode1" presStyleIdx="4" presStyleCnt="13"/>
      <dgm:spPr/>
    </dgm:pt>
    <dgm:pt modelId="{EDAEDF4E-E28E-47F7-8F6E-F32AEC276ED1}" type="pres">
      <dgm:prSet presAssocID="{9DC94F0D-1B2E-430E-BB79-C44F1301B0B4}" presName="horz1" presStyleCnt="0"/>
      <dgm:spPr/>
    </dgm:pt>
    <dgm:pt modelId="{9662479E-A152-4F3A-8D37-7801AA803178}" type="pres">
      <dgm:prSet presAssocID="{9DC94F0D-1B2E-430E-BB79-C44F1301B0B4}" presName="tx1" presStyleLbl="revTx" presStyleIdx="4" presStyleCnt="13"/>
      <dgm:spPr/>
    </dgm:pt>
    <dgm:pt modelId="{888901DC-2FA0-4F96-9539-C9E80037266B}" type="pres">
      <dgm:prSet presAssocID="{9DC94F0D-1B2E-430E-BB79-C44F1301B0B4}" presName="vert1" presStyleCnt="0"/>
      <dgm:spPr/>
    </dgm:pt>
    <dgm:pt modelId="{4D51F7AF-EBC0-4336-B91D-B141F7882016}" type="pres">
      <dgm:prSet presAssocID="{7D7928A3-2BBE-48EE-92B0-D51D83584887}" presName="thickLine" presStyleLbl="alignNode1" presStyleIdx="5" presStyleCnt="13"/>
      <dgm:spPr/>
    </dgm:pt>
    <dgm:pt modelId="{CD06FA36-1C14-452F-BF64-65B9BE926155}" type="pres">
      <dgm:prSet presAssocID="{7D7928A3-2BBE-48EE-92B0-D51D83584887}" presName="horz1" presStyleCnt="0"/>
      <dgm:spPr/>
    </dgm:pt>
    <dgm:pt modelId="{906E83E8-0413-4913-97A5-6E9BE25033EA}" type="pres">
      <dgm:prSet presAssocID="{7D7928A3-2BBE-48EE-92B0-D51D83584887}" presName="tx1" presStyleLbl="revTx" presStyleIdx="5" presStyleCnt="13"/>
      <dgm:spPr/>
    </dgm:pt>
    <dgm:pt modelId="{AB1238BF-E2E7-4A64-9017-90F435F71DE3}" type="pres">
      <dgm:prSet presAssocID="{7D7928A3-2BBE-48EE-92B0-D51D83584887}" presName="vert1" presStyleCnt="0"/>
      <dgm:spPr/>
    </dgm:pt>
    <dgm:pt modelId="{E537B906-3BBB-4694-BCC8-CAC4BED768B8}" type="pres">
      <dgm:prSet presAssocID="{EEAC991C-EDBB-4984-A365-457422C97DCF}" presName="thickLine" presStyleLbl="alignNode1" presStyleIdx="6" presStyleCnt="13"/>
      <dgm:spPr/>
    </dgm:pt>
    <dgm:pt modelId="{A03B31FC-D24E-4FB0-826F-FFD0A7F4CBC2}" type="pres">
      <dgm:prSet presAssocID="{EEAC991C-EDBB-4984-A365-457422C97DCF}" presName="horz1" presStyleCnt="0"/>
      <dgm:spPr/>
    </dgm:pt>
    <dgm:pt modelId="{628B2A07-A51C-4D44-8FF5-52F98F54D103}" type="pres">
      <dgm:prSet presAssocID="{EEAC991C-EDBB-4984-A365-457422C97DCF}" presName="tx1" presStyleLbl="revTx" presStyleIdx="6" presStyleCnt="13"/>
      <dgm:spPr/>
    </dgm:pt>
    <dgm:pt modelId="{37587013-B623-46A0-B430-06E665621B41}" type="pres">
      <dgm:prSet presAssocID="{EEAC991C-EDBB-4984-A365-457422C97DCF}" presName="vert1" presStyleCnt="0"/>
      <dgm:spPr/>
    </dgm:pt>
    <dgm:pt modelId="{9D9A07A8-C817-460B-B66A-C72F50E57EFC}" type="pres">
      <dgm:prSet presAssocID="{1746E7FA-2A89-43A0-BD8E-B115572D7F0F}" presName="thickLine" presStyleLbl="alignNode1" presStyleIdx="7" presStyleCnt="13"/>
      <dgm:spPr/>
    </dgm:pt>
    <dgm:pt modelId="{91ED565C-E1B1-4195-B42E-91E9527AF1F3}" type="pres">
      <dgm:prSet presAssocID="{1746E7FA-2A89-43A0-BD8E-B115572D7F0F}" presName="horz1" presStyleCnt="0"/>
      <dgm:spPr/>
    </dgm:pt>
    <dgm:pt modelId="{452B4456-FA35-4400-832C-6EEE33E8A670}" type="pres">
      <dgm:prSet presAssocID="{1746E7FA-2A89-43A0-BD8E-B115572D7F0F}" presName="tx1" presStyleLbl="revTx" presStyleIdx="7" presStyleCnt="13"/>
      <dgm:spPr/>
    </dgm:pt>
    <dgm:pt modelId="{6580A609-905F-4C39-8B7C-CAABAC34FF2F}" type="pres">
      <dgm:prSet presAssocID="{1746E7FA-2A89-43A0-BD8E-B115572D7F0F}" presName="vert1" presStyleCnt="0"/>
      <dgm:spPr/>
    </dgm:pt>
    <dgm:pt modelId="{59A27A46-2B37-46A7-8742-76D3ACD7D38E}" type="pres">
      <dgm:prSet presAssocID="{4D0542A0-742D-43BB-9CB7-2AAB47FE6DB1}" presName="thickLine" presStyleLbl="alignNode1" presStyleIdx="8" presStyleCnt="13"/>
      <dgm:spPr/>
    </dgm:pt>
    <dgm:pt modelId="{D7D0011F-F92A-4889-A180-FDEDB7AC36EC}" type="pres">
      <dgm:prSet presAssocID="{4D0542A0-742D-43BB-9CB7-2AAB47FE6DB1}" presName="horz1" presStyleCnt="0"/>
      <dgm:spPr/>
    </dgm:pt>
    <dgm:pt modelId="{B996B2C5-34CD-4921-BF1F-01C72E4AEA98}" type="pres">
      <dgm:prSet presAssocID="{4D0542A0-742D-43BB-9CB7-2AAB47FE6DB1}" presName="tx1" presStyleLbl="revTx" presStyleIdx="8" presStyleCnt="13"/>
      <dgm:spPr/>
    </dgm:pt>
    <dgm:pt modelId="{5B89F74F-B419-4F3E-A770-2F7E5E95C31F}" type="pres">
      <dgm:prSet presAssocID="{4D0542A0-742D-43BB-9CB7-2AAB47FE6DB1}" presName="vert1" presStyleCnt="0"/>
      <dgm:spPr/>
    </dgm:pt>
    <dgm:pt modelId="{319F8802-5B56-4451-82E5-ACB55B34F9C6}" type="pres">
      <dgm:prSet presAssocID="{A1AFA44B-3053-42ED-8FFD-EA3674DB45B0}" presName="thickLine" presStyleLbl="alignNode1" presStyleIdx="9" presStyleCnt="13"/>
      <dgm:spPr/>
    </dgm:pt>
    <dgm:pt modelId="{9D198E1F-8B4A-49F2-AA41-841C7364E337}" type="pres">
      <dgm:prSet presAssocID="{A1AFA44B-3053-42ED-8FFD-EA3674DB45B0}" presName="horz1" presStyleCnt="0"/>
      <dgm:spPr/>
    </dgm:pt>
    <dgm:pt modelId="{5B7B6D3E-32D5-4F91-851C-0951F4C0D20C}" type="pres">
      <dgm:prSet presAssocID="{A1AFA44B-3053-42ED-8FFD-EA3674DB45B0}" presName="tx1" presStyleLbl="revTx" presStyleIdx="9" presStyleCnt="13"/>
      <dgm:spPr/>
    </dgm:pt>
    <dgm:pt modelId="{11BC3DAF-B319-4909-A3D3-A3C4A81FCFB4}" type="pres">
      <dgm:prSet presAssocID="{A1AFA44B-3053-42ED-8FFD-EA3674DB45B0}" presName="vert1" presStyleCnt="0"/>
      <dgm:spPr/>
    </dgm:pt>
    <dgm:pt modelId="{EB79BEE6-50FC-4234-BB2A-811ACB353C7F}" type="pres">
      <dgm:prSet presAssocID="{329E1CC3-A15C-487D-AF33-118730A624F7}" presName="thickLine" presStyleLbl="alignNode1" presStyleIdx="10" presStyleCnt="13"/>
      <dgm:spPr/>
    </dgm:pt>
    <dgm:pt modelId="{AB9F7037-FFBE-46BC-B98B-3973F7B05D15}" type="pres">
      <dgm:prSet presAssocID="{329E1CC3-A15C-487D-AF33-118730A624F7}" presName="horz1" presStyleCnt="0"/>
      <dgm:spPr/>
    </dgm:pt>
    <dgm:pt modelId="{5BBF0BBE-C065-4E59-885E-65664B48C91C}" type="pres">
      <dgm:prSet presAssocID="{329E1CC3-A15C-487D-AF33-118730A624F7}" presName="tx1" presStyleLbl="revTx" presStyleIdx="10" presStyleCnt="13"/>
      <dgm:spPr/>
    </dgm:pt>
    <dgm:pt modelId="{989948AE-DDA2-4287-A682-AB53E8AB72F0}" type="pres">
      <dgm:prSet presAssocID="{329E1CC3-A15C-487D-AF33-118730A624F7}" presName="vert1" presStyleCnt="0"/>
      <dgm:spPr/>
    </dgm:pt>
    <dgm:pt modelId="{22F4613F-1BD2-4F90-9067-5441F203460E}" type="pres">
      <dgm:prSet presAssocID="{14FFD340-F915-4625-B0D3-AE4AD06D91DC}" presName="thickLine" presStyleLbl="alignNode1" presStyleIdx="11" presStyleCnt="13"/>
      <dgm:spPr/>
    </dgm:pt>
    <dgm:pt modelId="{1B4FC6BC-023B-4C6F-9398-57AF69985724}" type="pres">
      <dgm:prSet presAssocID="{14FFD340-F915-4625-B0D3-AE4AD06D91DC}" presName="horz1" presStyleCnt="0"/>
      <dgm:spPr/>
    </dgm:pt>
    <dgm:pt modelId="{3A1B0D01-4F82-4B9F-860B-1DB30521A944}" type="pres">
      <dgm:prSet presAssocID="{14FFD340-F915-4625-B0D3-AE4AD06D91DC}" presName="tx1" presStyleLbl="revTx" presStyleIdx="11" presStyleCnt="13"/>
      <dgm:spPr/>
    </dgm:pt>
    <dgm:pt modelId="{E71C4401-38C8-4AB2-A370-F485EB996592}" type="pres">
      <dgm:prSet presAssocID="{14FFD340-F915-4625-B0D3-AE4AD06D91DC}" presName="vert1" presStyleCnt="0"/>
      <dgm:spPr/>
    </dgm:pt>
    <dgm:pt modelId="{132E10A9-BB00-4EA4-9F63-A1A30769A8CD}" type="pres">
      <dgm:prSet presAssocID="{FE741DBD-9B8E-435E-AC6D-D608285EF4E2}" presName="thickLine" presStyleLbl="alignNode1" presStyleIdx="12" presStyleCnt="13"/>
      <dgm:spPr/>
    </dgm:pt>
    <dgm:pt modelId="{A720E9BC-5CAC-4380-99EE-BE0C8E916E0B}" type="pres">
      <dgm:prSet presAssocID="{FE741DBD-9B8E-435E-AC6D-D608285EF4E2}" presName="horz1" presStyleCnt="0"/>
      <dgm:spPr/>
    </dgm:pt>
    <dgm:pt modelId="{0B289D98-B9D0-4452-92C9-D51A7BF3E35A}" type="pres">
      <dgm:prSet presAssocID="{FE741DBD-9B8E-435E-AC6D-D608285EF4E2}" presName="tx1" presStyleLbl="revTx" presStyleIdx="12" presStyleCnt="13"/>
      <dgm:spPr/>
    </dgm:pt>
    <dgm:pt modelId="{5EE757D2-9D85-4AA8-A892-74D01107FEA7}" type="pres">
      <dgm:prSet presAssocID="{FE741DBD-9B8E-435E-AC6D-D608285EF4E2}" presName="vert1" presStyleCnt="0"/>
      <dgm:spPr/>
    </dgm:pt>
  </dgm:ptLst>
  <dgm:cxnLst>
    <dgm:cxn modelId="{AE79C30E-19C1-40BF-9779-3C8410B9C29E}" srcId="{DC1B7EE5-2C00-41D5-8552-7AB7DA3656D2}" destId="{BDC9B999-87C0-49EA-AC18-FCA71618CB32}" srcOrd="1" destOrd="0" parTransId="{A3819981-712E-4DC6-A8D5-DFCE88C37EED}" sibTransId="{CA83CCF1-3882-48DF-9BD4-89BF27A49B16}"/>
    <dgm:cxn modelId="{6D005210-3C08-4CF0-899B-1B1F33DDE299}" type="presOf" srcId="{7D7928A3-2BBE-48EE-92B0-D51D83584887}" destId="{906E83E8-0413-4913-97A5-6E9BE25033EA}" srcOrd="0" destOrd="0" presId="urn:microsoft.com/office/officeart/2008/layout/LinedList"/>
    <dgm:cxn modelId="{DF7BAB12-034B-4E2A-BFCB-81F806C1E1A7}" type="presOf" srcId="{A1AFA44B-3053-42ED-8FFD-EA3674DB45B0}" destId="{5B7B6D3E-32D5-4F91-851C-0951F4C0D20C}" srcOrd="0" destOrd="0" presId="urn:microsoft.com/office/officeart/2008/layout/LinedList"/>
    <dgm:cxn modelId="{2E69722C-C5D5-42A9-9FED-42D00598534D}" srcId="{DC1B7EE5-2C00-41D5-8552-7AB7DA3656D2}" destId="{4D0542A0-742D-43BB-9CB7-2AAB47FE6DB1}" srcOrd="8" destOrd="0" parTransId="{373B73FC-3DE3-4A0F-8FF2-9FB59BC8515F}" sibTransId="{AF3DD82B-3FCA-4AFA-B220-92028593EDF0}"/>
    <dgm:cxn modelId="{A6692D5B-BAB3-4875-8DB9-8D4125B7EE7D}" type="presOf" srcId="{EEAC991C-EDBB-4984-A365-457422C97DCF}" destId="{628B2A07-A51C-4D44-8FF5-52F98F54D103}" srcOrd="0" destOrd="0" presId="urn:microsoft.com/office/officeart/2008/layout/LinedList"/>
    <dgm:cxn modelId="{D9FD4D41-B04C-4D21-85CC-4A14E86C4C3E}" srcId="{DC1B7EE5-2C00-41D5-8552-7AB7DA3656D2}" destId="{14FFD340-F915-4625-B0D3-AE4AD06D91DC}" srcOrd="11" destOrd="0" parTransId="{376F01BC-3061-426D-9F54-20B305AA8AE3}" sibTransId="{0C306150-3FE2-4260-8223-99A4674D84D2}"/>
    <dgm:cxn modelId="{B9F66863-080A-4FAC-B8C3-746A0C8BF5B6}" srcId="{DC1B7EE5-2C00-41D5-8552-7AB7DA3656D2}" destId="{1746E7FA-2A89-43A0-BD8E-B115572D7F0F}" srcOrd="7" destOrd="0" parTransId="{F0B6C481-111E-45D6-8236-CAEB13CDD5FC}" sibTransId="{62FE2403-547E-487F-A793-9B3A8E36C4E7}"/>
    <dgm:cxn modelId="{4C934846-01B3-41F3-A87C-5B25BC895790}" srcId="{DC1B7EE5-2C00-41D5-8552-7AB7DA3656D2}" destId="{7D7928A3-2BBE-48EE-92B0-D51D83584887}" srcOrd="5" destOrd="0" parTransId="{0B5434D6-370E-4456-93EB-7625F8E2DDE1}" sibTransId="{A783A6D8-EB25-41E5-BD67-CC995B848428}"/>
    <dgm:cxn modelId="{E3AA9C47-1DE9-455D-8A87-08D742124560}" type="presOf" srcId="{14FFD340-F915-4625-B0D3-AE4AD06D91DC}" destId="{3A1B0D01-4F82-4B9F-860B-1DB30521A944}" srcOrd="0" destOrd="0" presId="urn:microsoft.com/office/officeart/2008/layout/LinedList"/>
    <dgm:cxn modelId="{538E956B-DD8A-4BDD-9865-EFE393CD6D91}" srcId="{DC1B7EE5-2C00-41D5-8552-7AB7DA3656D2}" destId="{C8E2C7D8-C67F-47DF-AFA9-0856CBEFC73E}" srcOrd="3" destOrd="0" parTransId="{A7B5705B-3C1F-4A41-A5ED-F656D8F9E241}" sibTransId="{6609490C-9F93-407C-91D6-65D3A7917B54}"/>
    <dgm:cxn modelId="{40E0E14E-3ED8-46FB-A443-F1D0CA20AE6E}" type="presOf" srcId="{4D0542A0-742D-43BB-9CB7-2AAB47FE6DB1}" destId="{B996B2C5-34CD-4921-BF1F-01C72E4AEA98}" srcOrd="0" destOrd="0" presId="urn:microsoft.com/office/officeart/2008/layout/LinedList"/>
    <dgm:cxn modelId="{3B5B7671-B0AC-4F63-8B0D-555839E4AD32}" srcId="{DC1B7EE5-2C00-41D5-8552-7AB7DA3656D2}" destId="{5A62C979-1B9A-4ECE-81E5-DA060BB77E9D}" srcOrd="2" destOrd="0" parTransId="{74974879-BD47-4231-B8F6-72E177137BA7}" sibTransId="{C9D13A2E-590C-4C0E-8839-AAD1BA37131C}"/>
    <dgm:cxn modelId="{BA1DBD57-8ECE-481A-A194-04A05EC49BDE}" srcId="{DC1B7EE5-2C00-41D5-8552-7AB7DA3656D2}" destId="{A1AFA44B-3053-42ED-8FFD-EA3674DB45B0}" srcOrd="9" destOrd="0" parTransId="{C1ED37D9-672C-4156-B420-EFBDF910C053}" sibTransId="{9FC157B7-B76C-460F-8FFE-A4FB529A85E2}"/>
    <dgm:cxn modelId="{D6796E79-6F79-4241-858B-F9234A104325}" type="presOf" srcId="{5A62C979-1B9A-4ECE-81E5-DA060BB77E9D}" destId="{0274B735-CB56-4CA2-8526-D77AC74C02F2}" srcOrd="0" destOrd="0" presId="urn:microsoft.com/office/officeart/2008/layout/LinedList"/>
    <dgm:cxn modelId="{DB14218E-1F9F-41A8-BB9D-079152834D20}" type="presOf" srcId="{329E1CC3-A15C-487D-AF33-118730A624F7}" destId="{5BBF0BBE-C065-4E59-885E-65664B48C91C}" srcOrd="0" destOrd="0" presId="urn:microsoft.com/office/officeart/2008/layout/LinedList"/>
    <dgm:cxn modelId="{D2F6F591-193C-4FBD-9CFC-18FD4F1B95E2}" srcId="{DC1B7EE5-2C00-41D5-8552-7AB7DA3656D2}" destId="{9DC94F0D-1B2E-430E-BB79-C44F1301B0B4}" srcOrd="4" destOrd="0" parTransId="{10735EAB-2A51-49B4-976C-5C4F0F8D93E3}" sibTransId="{5CBD86CE-E628-475D-9C99-6255B733FF31}"/>
    <dgm:cxn modelId="{42EAC3AA-F48E-4795-96DE-0EC153FD5D62}" srcId="{DC1B7EE5-2C00-41D5-8552-7AB7DA3656D2}" destId="{A3114E66-27E8-4BF5-83F0-DF4CF5A1C945}" srcOrd="0" destOrd="0" parTransId="{F5D9BA04-7D13-487E-98A9-6F9335A1FAFF}" sibTransId="{79CA976D-B31A-4B70-8054-2D33C987BBDD}"/>
    <dgm:cxn modelId="{2F4081AE-B499-4F8E-9430-82122544B619}" type="presOf" srcId="{C8E2C7D8-C67F-47DF-AFA9-0856CBEFC73E}" destId="{BE2D9F29-E51D-4ACA-BEF5-5A0F15BCF4F2}" srcOrd="0" destOrd="0" presId="urn:microsoft.com/office/officeart/2008/layout/LinedList"/>
    <dgm:cxn modelId="{63D61EB4-D91C-4E1D-880B-DCB9A3B3F1E4}" srcId="{DC1B7EE5-2C00-41D5-8552-7AB7DA3656D2}" destId="{329E1CC3-A15C-487D-AF33-118730A624F7}" srcOrd="10" destOrd="0" parTransId="{F4D28C67-482D-45A6-95CA-78C17F8D7DEA}" sibTransId="{B3492A77-4A25-4C68-9918-E46D95592454}"/>
    <dgm:cxn modelId="{5CCA64B5-1102-4657-9661-7DD69B91368E}" type="presOf" srcId="{DC1B7EE5-2C00-41D5-8552-7AB7DA3656D2}" destId="{8C65AEB0-E447-4211-9339-93414B4F64D4}" srcOrd="0" destOrd="0" presId="urn:microsoft.com/office/officeart/2008/layout/LinedList"/>
    <dgm:cxn modelId="{1CC45DBD-A659-47D4-B808-E7C924C2F855}" srcId="{DC1B7EE5-2C00-41D5-8552-7AB7DA3656D2}" destId="{EEAC991C-EDBB-4984-A365-457422C97DCF}" srcOrd="6" destOrd="0" parTransId="{7601E5A4-1D1D-4E45-9C1D-3083CEC8FA16}" sibTransId="{DA4FB50C-7D20-495D-BAF6-16FA5E21702F}"/>
    <dgm:cxn modelId="{258323CC-DA01-4C2C-9BB6-82B2BF502613}" srcId="{DC1B7EE5-2C00-41D5-8552-7AB7DA3656D2}" destId="{FE741DBD-9B8E-435E-AC6D-D608285EF4E2}" srcOrd="12" destOrd="0" parTransId="{A277A2EE-7A04-474F-8464-3C28334B95C7}" sibTransId="{1804D62E-F442-46FD-A66A-D19CAE645E93}"/>
    <dgm:cxn modelId="{E6B951CF-BC4C-4BA6-AF69-FCF4B514B448}" type="presOf" srcId="{BDC9B999-87C0-49EA-AC18-FCA71618CB32}" destId="{43E886B4-F1CF-4B89-99F6-354D42F8A08E}" srcOrd="0" destOrd="0" presId="urn:microsoft.com/office/officeart/2008/layout/LinedList"/>
    <dgm:cxn modelId="{E5CA0ED0-BDB4-43F6-99A2-F02AF0D6D48E}" type="presOf" srcId="{9DC94F0D-1B2E-430E-BB79-C44F1301B0B4}" destId="{9662479E-A152-4F3A-8D37-7801AA803178}" srcOrd="0" destOrd="0" presId="urn:microsoft.com/office/officeart/2008/layout/LinedList"/>
    <dgm:cxn modelId="{E2A09FD9-C418-4F4A-AF60-72538B57D696}" type="presOf" srcId="{1746E7FA-2A89-43A0-BD8E-B115572D7F0F}" destId="{452B4456-FA35-4400-832C-6EEE33E8A670}" srcOrd="0" destOrd="0" presId="urn:microsoft.com/office/officeart/2008/layout/LinedList"/>
    <dgm:cxn modelId="{6B43DDDA-5BDC-40E3-9068-77F1BC8B7BFC}" type="presOf" srcId="{FE741DBD-9B8E-435E-AC6D-D608285EF4E2}" destId="{0B289D98-B9D0-4452-92C9-D51A7BF3E35A}" srcOrd="0" destOrd="0" presId="urn:microsoft.com/office/officeart/2008/layout/LinedList"/>
    <dgm:cxn modelId="{17A630F0-A227-45F7-9650-CA4214041BC6}" type="presOf" srcId="{A3114E66-27E8-4BF5-83F0-DF4CF5A1C945}" destId="{E0562219-C2BA-4DF5-98A9-C21290F1756D}" srcOrd="0" destOrd="0" presId="urn:microsoft.com/office/officeart/2008/layout/LinedList"/>
    <dgm:cxn modelId="{E0D9FC83-E333-4522-AE0E-81234043FC10}" type="presParOf" srcId="{8C65AEB0-E447-4211-9339-93414B4F64D4}" destId="{E28CE0F9-F208-47A7-8846-4EEFFCD881CD}" srcOrd="0" destOrd="0" presId="urn:microsoft.com/office/officeart/2008/layout/LinedList"/>
    <dgm:cxn modelId="{3AECF8CF-E088-4A98-8BB8-219D090FDDC4}" type="presParOf" srcId="{8C65AEB0-E447-4211-9339-93414B4F64D4}" destId="{90B1E3EE-BAB1-4F8A-8B85-28F972CA9E56}" srcOrd="1" destOrd="0" presId="urn:microsoft.com/office/officeart/2008/layout/LinedList"/>
    <dgm:cxn modelId="{D9A0B1CD-0AA5-494D-AABB-1A6CF0EBFC0F}" type="presParOf" srcId="{90B1E3EE-BAB1-4F8A-8B85-28F972CA9E56}" destId="{E0562219-C2BA-4DF5-98A9-C21290F1756D}" srcOrd="0" destOrd="0" presId="urn:microsoft.com/office/officeart/2008/layout/LinedList"/>
    <dgm:cxn modelId="{46AD3C31-EE6B-4A1D-89E4-42901B7EFEC1}" type="presParOf" srcId="{90B1E3EE-BAB1-4F8A-8B85-28F972CA9E56}" destId="{67CF6BA0-E757-42DA-BD8C-333F2907B6C3}" srcOrd="1" destOrd="0" presId="urn:microsoft.com/office/officeart/2008/layout/LinedList"/>
    <dgm:cxn modelId="{8D100D5E-4651-4F50-A4C2-8240F0AD99E0}" type="presParOf" srcId="{8C65AEB0-E447-4211-9339-93414B4F64D4}" destId="{C4EDA85D-8FA3-4ED1-89B1-0CD009C93457}" srcOrd="2" destOrd="0" presId="urn:microsoft.com/office/officeart/2008/layout/LinedList"/>
    <dgm:cxn modelId="{0DACA940-890D-4B58-937D-6FD6D087507A}" type="presParOf" srcId="{8C65AEB0-E447-4211-9339-93414B4F64D4}" destId="{ED54F498-034A-4636-8BA6-D066CCE60381}" srcOrd="3" destOrd="0" presId="urn:microsoft.com/office/officeart/2008/layout/LinedList"/>
    <dgm:cxn modelId="{894AB04F-B18D-4361-9F29-E25ECEA21D6E}" type="presParOf" srcId="{ED54F498-034A-4636-8BA6-D066CCE60381}" destId="{43E886B4-F1CF-4B89-99F6-354D42F8A08E}" srcOrd="0" destOrd="0" presId="urn:microsoft.com/office/officeart/2008/layout/LinedList"/>
    <dgm:cxn modelId="{F5B6BFE4-BE06-4708-B286-254D58C5113D}" type="presParOf" srcId="{ED54F498-034A-4636-8BA6-D066CCE60381}" destId="{50FD5820-BDC1-4AC7-9A57-5C8EA0A61085}" srcOrd="1" destOrd="0" presId="urn:microsoft.com/office/officeart/2008/layout/LinedList"/>
    <dgm:cxn modelId="{B3C22DEB-DE58-46D0-A9DF-95206B9536CC}" type="presParOf" srcId="{8C65AEB0-E447-4211-9339-93414B4F64D4}" destId="{595EB086-C267-4A31-95A2-9D6522211C31}" srcOrd="4" destOrd="0" presId="urn:microsoft.com/office/officeart/2008/layout/LinedList"/>
    <dgm:cxn modelId="{848BE05B-183C-4D75-B5F2-85489B3FA2FF}" type="presParOf" srcId="{8C65AEB0-E447-4211-9339-93414B4F64D4}" destId="{DAD51E4F-CA51-4CE0-B5F1-94CB695FF183}" srcOrd="5" destOrd="0" presId="urn:microsoft.com/office/officeart/2008/layout/LinedList"/>
    <dgm:cxn modelId="{6A1B479C-FAF3-4952-8748-32B76D2539B3}" type="presParOf" srcId="{DAD51E4F-CA51-4CE0-B5F1-94CB695FF183}" destId="{0274B735-CB56-4CA2-8526-D77AC74C02F2}" srcOrd="0" destOrd="0" presId="urn:microsoft.com/office/officeart/2008/layout/LinedList"/>
    <dgm:cxn modelId="{655D9B76-96B6-4E2A-AD11-F8F55675568B}" type="presParOf" srcId="{DAD51E4F-CA51-4CE0-B5F1-94CB695FF183}" destId="{4CAD0AC2-B5E5-462F-A63E-2F8872E5E878}" srcOrd="1" destOrd="0" presId="urn:microsoft.com/office/officeart/2008/layout/LinedList"/>
    <dgm:cxn modelId="{535C02D7-00AE-45EB-82EF-999A881740AE}" type="presParOf" srcId="{8C65AEB0-E447-4211-9339-93414B4F64D4}" destId="{61F65614-8639-4518-AA11-49C6B496DECC}" srcOrd="6" destOrd="0" presId="urn:microsoft.com/office/officeart/2008/layout/LinedList"/>
    <dgm:cxn modelId="{B2F25B1E-44E6-42C4-A402-05334A395301}" type="presParOf" srcId="{8C65AEB0-E447-4211-9339-93414B4F64D4}" destId="{663A884A-826A-4722-B5F7-4A8CE2714EBD}" srcOrd="7" destOrd="0" presId="urn:microsoft.com/office/officeart/2008/layout/LinedList"/>
    <dgm:cxn modelId="{2C509A59-E191-4B9B-A147-A9F6B69B582A}" type="presParOf" srcId="{663A884A-826A-4722-B5F7-4A8CE2714EBD}" destId="{BE2D9F29-E51D-4ACA-BEF5-5A0F15BCF4F2}" srcOrd="0" destOrd="0" presId="urn:microsoft.com/office/officeart/2008/layout/LinedList"/>
    <dgm:cxn modelId="{A09D073D-0A50-49C9-8C2E-66D16B5A96F0}" type="presParOf" srcId="{663A884A-826A-4722-B5F7-4A8CE2714EBD}" destId="{ADE0AC9B-B0D6-46A3-903D-E9CE6C9C412F}" srcOrd="1" destOrd="0" presId="urn:microsoft.com/office/officeart/2008/layout/LinedList"/>
    <dgm:cxn modelId="{0FAFD264-63BA-4FFD-BB21-21A655FA754F}" type="presParOf" srcId="{8C65AEB0-E447-4211-9339-93414B4F64D4}" destId="{177894E6-5FD7-4710-8464-DE4316831E27}" srcOrd="8" destOrd="0" presId="urn:microsoft.com/office/officeart/2008/layout/LinedList"/>
    <dgm:cxn modelId="{1DA1BC08-A080-45B3-A4F2-A617E8816C4E}" type="presParOf" srcId="{8C65AEB0-E447-4211-9339-93414B4F64D4}" destId="{EDAEDF4E-E28E-47F7-8F6E-F32AEC276ED1}" srcOrd="9" destOrd="0" presId="urn:microsoft.com/office/officeart/2008/layout/LinedList"/>
    <dgm:cxn modelId="{4F765C72-7CC8-4F52-BA73-E4A1555371EE}" type="presParOf" srcId="{EDAEDF4E-E28E-47F7-8F6E-F32AEC276ED1}" destId="{9662479E-A152-4F3A-8D37-7801AA803178}" srcOrd="0" destOrd="0" presId="urn:microsoft.com/office/officeart/2008/layout/LinedList"/>
    <dgm:cxn modelId="{D68249B9-844E-4A59-B1FC-7E6B79235D49}" type="presParOf" srcId="{EDAEDF4E-E28E-47F7-8F6E-F32AEC276ED1}" destId="{888901DC-2FA0-4F96-9539-C9E80037266B}" srcOrd="1" destOrd="0" presId="urn:microsoft.com/office/officeart/2008/layout/LinedList"/>
    <dgm:cxn modelId="{6F827C64-0CBE-45E6-9ED3-9E891CFCC674}" type="presParOf" srcId="{8C65AEB0-E447-4211-9339-93414B4F64D4}" destId="{4D51F7AF-EBC0-4336-B91D-B141F7882016}" srcOrd="10" destOrd="0" presId="urn:microsoft.com/office/officeart/2008/layout/LinedList"/>
    <dgm:cxn modelId="{461EA1DA-806D-43DC-B051-11C358292345}" type="presParOf" srcId="{8C65AEB0-E447-4211-9339-93414B4F64D4}" destId="{CD06FA36-1C14-452F-BF64-65B9BE926155}" srcOrd="11" destOrd="0" presId="urn:microsoft.com/office/officeart/2008/layout/LinedList"/>
    <dgm:cxn modelId="{B50770F2-84E6-46B8-9DF6-553BA76035DF}" type="presParOf" srcId="{CD06FA36-1C14-452F-BF64-65B9BE926155}" destId="{906E83E8-0413-4913-97A5-6E9BE25033EA}" srcOrd="0" destOrd="0" presId="urn:microsoft.com/office/officeart/2008/layout/LinedList"/>
    <dgm:cxn modelId="{01DCE992-08EC-4C87-B6C5-F5D824CDBEC1}" type="presParOf" srcId="{CD06FA36-1C14-452F-BF64-65B9BE926155}" destId="{AB1238BF-E2E7-4A64-9017-90F435F71DE3}" srcOrd="1" destOrd="0" presId="urn:microsoft.com/office/officeart/2008/layout/LinedList"/>
    <dgm:cxn modelId="{CF545730-7081-4AA6-A167-804407860673}" type="presParOf" srcId="{8C65AEB0-E447-4211-9339-93414B4F64D4}" destId="{E537B906-3BBB-4694-BCC8-CAC4BED768B8}" srcOrd="12" destOrd="0" presId="urn:microsoft.com/office/officeart/2008/layout/LinedList"/>
    <dgm:cxn modelId="{47D0F434-14E2-4034-AE0B-FF7EC8E0A2C8}" type="presParOf" srcId="{8C65AEB0-E447-4211-9339-93414B4F64D4}" destId="{A03B31FC-D24E-4FB0-826F-FFD0A7F4CBC2}" srcOrd="13" destOrd="0" presId="urn:microsoft.com/office/officeart/2008/layout/LinedList"/>
    <dgm:cxn modelId="{01A62E74-25D6-4F08-B146-997725FBC870}" type="presParOf" srcId="{A03B31FC-D24E-4FB0-826F-FFD0A7F4CBC2}" destId="{628B2A07-A51C-4D44-8FF5-52F98F54D103}" srcOrd="0" destOrd="0" presId="urn:microsoft.com/office/officeart/2008/layout/LinedList"/>
    <dgm:cxn modelId="{E4EA43AC-5842-4BE8-9BBD-C4347B624A33}" type="presParOf" srcId="{A03B31FC-D24E-4FB0-826F-FFD0A7F4CBC2}" destId="{37587013-B623-46A0-B430-06E665621B41}" srcOrd="1" destOrd="0" presId="urn:microsoft.com/office/officeart/2008/layout/LinedList"/>
    <dgm:cxn modelId="{EECD7F4F-EA7D-4886-B7A9-3A47EBF51B9C}" type="presParOf" srcId="{8C65AEB0-E447-4211-9339-93414B4F64D4}" destId="{9D9A07A8-C817-460B-B66A-C72F50E57EFC}" srcOrd="14" destOrd="0" presId="urn:microsoft.com/office/officeart/2008/layout/LinedList"/>
    <dgm:cxn modelId="{BF0964A0-3340-4599-84FE-A6C1C9A52637}" type="presParOf" srcId="{8C65AEB0-E447-4211-9339-93414B4F64D4}" destId="{91ED565C-E1B1-4195-B42E-91E9527AF1F3}" srcOrd="15" destOrd="0" presId="urn:microsoft.com/office/officeart/2008/layout/LinedList"/>
    <dgm:cxn modelId="{57E3EC7C-D571-4B85-A52D-A18252E28CBB}" type="presParOf" srcId="{91ED565C-E1B1-4195-B42E-91E9527AF1F3}" destId="{452B4456-FA35-4400-832C-6EEE33E8A670}" srcOrd="0" destOrd="0" presId="urn:microsoft.com/office/officeart/2008/layout/LinedList"/>
    <dgm:cxn modelId="{B8202356-C0CA-4A4F-A869-18E12591E144}" type="presParOf" srcId="{91ED565C-E1B1-4195-B42E-91E9527AF1F3}" destId="{6580A609-905F-4C39-8B7C-CAABAC34FF2F}" srcOrd="1" destOrd="0" presId="urn:microsoft.com/office/officeart/2008/layout/LinedList"/>
    <dgm:cxn modelId="{B6B7F3AF-5813-4D3C-A7BC-7F467D3F5E01}" type="presParOf" srcId="{8C65AEB0-E447-4211-9339-93414B4F64D4}" destId="{59A27A46-2B37-46A7-8742-76D3ACD7D38E}" srcOrd="16" destOrd="0" presId="urn:microsoft.com/office/officeart/2008/layout/LinedList"/>
    <dgm:cxn modelId="{99AFE278-AA9B-4158-A60D-85028AE235DD}" type="presParOf" srcId="{8C65AEB0-E447-4211-9339-93414B4F64D4}" destId="{D7D0011F-F92A-4889-A180-FDEDB7AC36EC}" srcOrd="17" destOrd="0" presId="urn:microsoft.com/office/officeart/2008/layout/LinedList"/>
    <dgm:cxn modelId="{E05EE4B6-377C-4F61-954F-23E3923F996C}" type="presParOf" srcId="{D7D0011F-F92A-4889-A180-FDEDB7AC36EC}" destId="{B996B2C5-34CD-4921-BF1F-01C72E4AEA98}" srcOrd="0" destOrd="0" presId="urn:microsoft.com/office/officeart/2008/layout/LinedList"/>
    <dgm:cxn modelId="{1DDB8A3D-2DD2-4D29-B77E-F238A8DDC72E}" type="presParOf" srcId="{D7D0011F-F92A-4889-A180-FDEDB7AC36EC}" destId="{5B89F74F-B419-4F3E-A770-2F7E5E95C31F}" srcOrd="1" destOrd="0" presId="urn:microsoft.com/office/officeart/2008/layout/LinedList"/>
    <dgm:cxn modelId="{6CC79B87-38EF-4C7D-B41D-973B412716FC}" type="presParOf" srcId="{8C65AEB0-E447-4211-9339-93414B4F64D4}" destId="{319F8802-5B56-4451-82E5-ACB55B34F9C6}" srcOrd="18" destOrd="0" presId="urn:microsoft.com/office/officeart/2008/layout/LinedList"/>
    <dgm:cxn modelId="{7364AF3D-CAD4-4F46-BF1B-824DB0D42289}" type="presParOf" srcId="{8C65AEB0-E447-4211-9339-93414B4F64D4}" destId="{9D198E1F-8B4A-49F2-AA41-841C7364E337}" srcOrd="19" destOrd="0" presId="urn:microsoft.com/office/officeart/2008/layout/LinedList"/>
    <dgm:cxn modelId="{DF7CDA63-3627-49B6-968F-F864CD1FA6BA}" type="presParOf" srcId="{9D198E1F-8B4A-49F2-AA41-841C7364E337}" destId="{5B7B6D3E-32D5-4F91-851C-0951F4C0D20C}" srcOrd="0" destOrd="0" presId="urn:microsoft.com/office/officeart/2008/layout/LinedList"/>
    <dgm:cxn modelId="{9E58212D-2124-4A77-8F0E-4CE03A524C2C}" type="presParOf" srcId="{9D198E1F-8B4A-49F2-AA41-841C7364E337}" destId="{11BC3DAF-B319-4909-A3D3-A3C4A81FCFB4}" srcOrd="1" destOrd="0" presId="urn:microsoft.com/office/officeart/2008/layout/LinedList"/>
    <dgm:cxn modelId="{11C1BAD9-C37D-4807-8ABD-B97DD3C5E341}" type="presParOf" srcId="{8C65AEB0-E447-4211-9339-93414B4F64D4}" destId="{EB79BEE6-50FC-4234-BB2A-811ACB353C7F}" srcOrd="20" destOrd="0" presId="urn:microsoft.com/office/officeart/2008/layout/LinedList"/>
    <dgm:cxn modelId="{4830E805-6683-47B0-A479-2BC9654EDFEF}" type="presParOf" srcId="{8C65AEB0-E447-4211-9339-93414B4F64D4}" destId="{AB9F7037-FFBE-46BC-B98B-3973F7B05D15}" srcOrd="21" destOrd="0" presId="urn:microsoft.com/office/officeart/2008/layout/LinedList"/>
    <dgm:cxn modelId="{464441EA-2E66-4264-A7EF-6ABFFA4AFE7E}" type="presParOf" srcId="{AB9F7037-FFBE-46BC-B98B-3973F7B05D15}" destId="{5BBF0BBE-C065-4E59-885E-65664B48C91C}" srcOrd="0" destOrd="0" presId="urn:microsoft.com/office/officeart/2008/layout/LinedList"/>
    <dgm:cxn modelId="{0B7385C9-35E1-4ADC-971D-8D70D1D55883}" type="presParOf" srcId="{AB9F7037-FFBE-46BC-B98B-3973F7B05D15}" destId="{989948AE-DDA2-4287-A682-AB53E8AB72F0}" srcOrd="1" destOrd="0" presId="urn:microsoft.com/office/officeart/2008/layout/LinedList"/>
    <dgm:cxn modelId="{7103410E-BA55-44DC-B7D7-AE4CDC494365}" type="presParOf" srcId="{8C65AEB0-E447-4211-9339-93414B4F64D4}" destId="{22F4613F-1BD2-4F90-9067-5441F203460E}" srcOrd="22" destOrd="0" presId="urn:microsoft.com/office/officeart/2008/layout/LinedList"/>
    <dgm:cxn modelId="{1C88443D-B159-4420-88E2-97A5ABE0720D}" type="presParOf" srcId="{8C65AEB0-E447-4211-9339-93414B4F64D4}" destId="{1B4FC6BC-023B-4C6F-9398-57AF69985724}" srcOrd="23" destOrd="0" presId="urn:microsoft.com/office/officeart/2008/layout/LinedList"/>
    <dgm:cxn modelId="{D24C29E5-B88F-4EE2-AC5E-DEA509F0A883}" type="presParOf" srcId="{1B4FC6BC-023B-4C6F-9398-57AF69985724}" destId="{3A1B0D01-4F82-4B9F-860B-1DB30521A944}" srcOrd="0" destOrd="0" presId="urn:microsoft.com/office/officeart/2008/layout/LinedList"/>
    <dgm:cxn modelId="{CD985CAC-F3E9-40FE-A18C-84108AA66B90}" type="presParOf" srcId="{1B4FC6BC-023B-4C6F-9398-57AF69985724}" destId="{E71C4401-38C8-4AB2-A370-F485EB996592}" srcOrd="1" destOrd="0" presId="urn:microsoft.com/office/officeart/2008/layout/LinedList"/>
    <dgm:cxn modelId="{E773E7E7-88E6-4BB8-B703-754FF93B434A}" type="presParOf" srcId="{8C65AEB0-E447-4211-9339-93414B4F64D4}" destId="{132E10A9-BB00-4EA4-9F63-A1A30769A8CD}" srcOrd="24" destOrd="0" presId="urn:microsoft.com/office/officeart/2008/layout/LinedList"/>
    <dgm:cxn modelId="{2AD9AACD-904C-4847-B754-D721FE244966}" type="presParOf" srcId="{8C65AEB0-E447-4211-9339-93414B4F64D4}" destId="{A720E9BC-5CAC-4380-99EE-BE0C8E916E0B}" srcOrd="25" destOrd="0" presId="urn:microsoft.com/office/officeart/2008/layout/LinedList"/>
    <dgm:cxn modelId="{5139D8E9-7717-4387-930A-29B58584B90F}" type="presParOf" srcId="{A720E9BC-5CAC-4380-99EE-BE0C8E916E0B}" destId="{0B289D98-B9D0-4452-92C9-D51A7BF3E35A}" srcOrd="0" destOrd="0" presId="urn:microsoft.com/office/officeart/2008/layout/LinedList"/>
    <dgm:cxn modelId="{28E8A66C-46DA-4076-B40A-919157B6164D}" type="presParOf" srcId="{A720E9BC-5CAC-4380-99EE-BE0C8E916E0B}" destId="{5EE757D2-9D85-4AA8-A892-74D01107FEA7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09579E9-0812-4543-9DD8-FB3F32225215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356DE1B-7F31-4ABE-81B5-7B4317B6FF23}">
      <dgm:prSet/>
      <dgm:spPr/>
      <dgm:t>
        <a:bodyPr/>
        <a:lstStyle/>
        <a:p>
          <a:r>
            <a:rPr lang="en-US"/>
            <a:t>1. Employee Development &amp; Enrichment</a:t>
          </a:r>
        </a:p>
      </dgm:t>
    </dgm:pt>
    <dgm:pt modelId="{7E9AD04B-D57C-4363-A919-EC8DD9F11A4F}" type="parTrans" cxnId="{F7335C29-3CBE-4A86-B334-287DA029705B}">
      <dgm:prSet/>
      <dgm:spPr/>
      <dgm:t>
        <a:bodyPr/>
        <a:lstStyle/>
        <a:p>
          <a:endParaRPr lang="en-US"/>
        </a:p>
      </dgm:t>
    </dgm:pt>
    <dgm:pt modelId="{23562D8B-25D0-4BDB-96F3-580DEA224561}" type="sibTrans" cxnId="{F7335C29-3CBE-4A86-B334-287DA029705B}">
      <dgm:prSet/>
      <dgm:spPr/>
      <dgm:t>
        <a:bodyPr/>
        <a:lstStyle/>
        <a:p>
          <a:endParaRPr lang="en-US"/>
        </a:p>
      </dgm:t>
    </dgm:pt>
    <dgm:pt modelId="{A25E0337-D56C-407E-AD55-B647BE57B506}">
      <dgm:prSet/>
      <dgm:spPr/>
      <dgm:t>
        <a:bodyPr/>
        <a:lstStyle/>
        <a:p>
          <a:r>
            <a:rPr lang="en-US"/>
            <a:t>2. Waste Minimization &amp; Pollution Prevention</a:t>
          </a:r>
        </a:p>
      </dgm:t>
    </dgm:pt>
    <dgm:pt modelId="{EFF43055-0F08-4AAB-8B99-4C0741D832B8}" type="parTrans" cxnId="{0EC50537-858E-4E7B-BF3D-980CE06D355E}">
      <dgm:prSet/>
      <dgm:spPr/>
      <dgm:t>
        <a:bodyPr/>
        <a:lstStyle/>
        <a:p>
          <a:endParaRPr lang="en-US"/>
        </a:p>
      </dgm:t>
    </dgm:pt>
    <dgm:pt modelId="{042F85F1-2D2C-4C45-BBEC-63D67D80FFFC}" type="sibTrans" cxnId="{0EC50537-858E-4E7B-BF3D-980CE06D355E}">
      <dgm:prSet/>
      <dgm:spPr/>
      <dgm:t>
        <a:bodyPr/>
        <a:lstStyle/>
        <a:p>
          <a:endParaRPr lang="en-US"/>
        </a:p>
      </dgm:t>
    </dgm:pt>
    <dgm:pt modelId="{9AD30DBD-ECD3-4442-963B-36CBCD015350}">
      <dgm:prSet/>
      <dgm:spPr/>
      <dgm:t>
        <a:bodyPr/>
        <a:lstStyle/>
        <a:p>
          <a:r>
            <a:rPr lang="en-US"/>
            <a:t>3. Bring Environmental Social and Governance to the forefront of Environmental Services</a:t>
          </a:r>
        </a:p>
      </dgm:t>
    </dgm:pt>
    <dgm:pt modelId="{7224291F-5969-48AE-AF49-544D2AD53723}" type="parTrans" cxnId="{52227D8C-E761-47A2-A03B-6F941CE1B7B3}">
      <dgm:prSet/>
      <dgm:spPr/>
      <dgm:t>
        <a:bodyPr/>
        <a:lstStyle/>
        <a:p>
          <a:endParaRPr lang="en-US"/>
        </a:p>
      </dgm:t>
    </dgm:pt>
    <dgm:pt modelId="{49F35AD7-832D-47BB-8E37-9DF10E5D590D}" type="sibTrans" cxnId="{52227D8C-E761-47A2-A03B-6F941CE1B7B3}">
      <dgm:prSet/>
      <dgm:spPr/>
      <dgm:t>
        <a:bodyPr/>
        <a:lstStyle/>
        <a:p>
          <a:endParaRPr lang="en-US"/>
        </a:p>
      </dgm:t>
    </dgm:pt>
    <dgm:pt modelId="{A340B640-393A-4C06-81F2-4F3E7DF4B69E}" type="pres">
      <dgm:prSet presAssocID="{D09579E9-0812-4543-9DD8-FB3F32225215}" presName="vert0" presStyleCnt="0">
        <dgm:presLayoutVars>
          <dgm:dir/>
          <dgm:animOne val="branch"/>
          <dgm:animLvl val="lvl"/>
        </dgm:presLayoutVars>
      </dgm:prSet>
      <dgm:spPr/>
    </dgm:pt>
    <dgm:pt modelId="{09B007CC-1BA0-4F34-B8B2-BC1D9FFBA93A}" type="pres">
      <dgm:prSet presAssocID="{F356DE1B-7F31-4ABE-81B5-7B4317B6FF23}" presName="thickLine" presStyleLbl="alignNode1" presStyleIdx="0" presStyleCnt="3"/>
      <dgm:spPr/>
    </dgm:pt>
    <dgm:pt modelId="{4F556C18-B078-48F9-81FB-7A2FFA560A9E}" type="pres">
      <dgm:prSet presAssocID="{F356DE1B-7F31-4ABE-81B5-7B4317B6FF23}" presName="horz1" presStyleCnt="0"/>
      <dgm:spPr/>
    </dgm:pt>
    <dgm:pt modelId="{BB959C85-CC2B-4D7D-853C-ED650F753651}" type="pres">
      <dgm:prSet presAssocID="{F356DE1B-7F31-4ABE-81B5-7B4317B6FF23}" presName="tx1" presStyleLbl="revTx" presStyleIdx="0" presStyleCnt="3"/>
      <dgm:spPr/>
    </dgm:pt>
    <dgm:pt modelId="{91A6CC36-488D-4769-9EE5-A94C6D9E4D30}" type="pres">
      <dgm:prSet presAssocID="{F356DE1B-7F31-4ABE-81B5-7B4317B6FF23}" presName="vert1" presStyleCnt="0"/>
      <dgm:spPr/>
    </dgm:pt>
    <dgm:pt modelId="{E33F6229-BE8D-4C17-A4D3-FC40DD28B61A}" type="pres">
      <dgm:prSet presAssocID="{A25E0337-D56C-407E-AD55-B647BE57B506}" presName="thickLine" presStyleLbl="alignNode1" presStyleIdx="1" presStyleCnt="3"/>
      <dgm:spPr/>
    </dgm:pt>
    <dgm:pt modelId="{00754D63-BE0C-4D97-A0E4-65523C4337F5}" type="pres">
      <dgm:prSet presAssocID="{A25E0337-D56C-407E-AD55-B647BE57B506}" presName="horz1" presStyleCnt="0"/>
      <dgm:spPr/>
    </dgm:pt>
    <dgm:pt modelId="{82C5BB9E-A88A-48B8-A28A-20972703336D}" type="pres">
      <dgm:prSet presAssocID="{A25E0337-D56C-407E-AD55-B647BE57B506}" presName="tx1" presStyleLbl="revTx" presStyleIdx="1" presStyleCnt="3"/>
      <dgm:spPr/>
    </dgm:pt>
    <dgm:pt modelId="{E41EB47E-44D0-4137-B003-A9F83438B327}" type="pres">
      <dgm:prSet presAssocID="{A25E0337-D56C-407E-AD55-B647BE57B506}" presName="vert1" presStyleCnt="0"/>
      <dgm:spPr/>
    </dgm:pt>
    <dgm:pt modelId="{75BCDCAC-B279-4F5E-AE03-EE86B128F070}" type="pres">
      <dgm:prSet presAssocID="{9AD30DBD-ECD3-4442-963B-36CBCD015350}" presName="thickLine" presStyleLbl="alignNode1" presStyleIdx="2" presStyleCnt="3"/>
      <dgm:spPr/>
    </dgm:pt>
    <dgm:pt modelId="{A71C9FEC-DD6C-4A3F-92EC-B764927A5533}" type="pres">
      <dgm:prSet presAssocID="{9AD30DBD-ECD3-4442-963B-36CBCD015350}" presName="horz1" presStyleCnt="0"/>
      <dgm:spPr/>
    </dgm:pt>
    <dgm:pt modelId="{42E6C836-5635-486E-A6EE-106F1B61A3CE}" type="pres">
      <dgm:prSet presAssocID="{9AD30DBD-ECD3-4442-963B-36CBCD015350}" presName="tx1" presStyleLbl="revTx" presStyleIdx="2" presStyleCnt="3"/>
      <dgm:spPr/>
    </dgm:pt>
    <dgm:pt modelId="{D69A059E-DEB6-43F8-9C76-35934C961327}" type="pres">
      <dgm:prSet presAssocID="{9AD30DBD-ECD3-4442-963B-36CBCD015350}" presName="vert1" presStyleCnt="0"/>
      <dgm:spPr/>
    </dgm:pt>
  </dgm:ptLst>
  <dgm:cxnLst>
    <dgm:cxn modelId="{F7335C29-3CBE-4A86-B334-287DA029705B}" srcId="{D09579E9-0812-4543-9DD8-FB3F32225215}" destId="{F356DE1B-7F31-4ABE-81B5-7B4317B6FF23}" srcOrd="0" destOrd="0" parTransId="{7E9AD04B-D57C-4363-A919-EC8DD9F11A4F}" sibTransId="{23562D8B-25D0-4BDB-96F3-580DEA224561}"/>
    <dgm:cxn modelId="{0EC50537-858E-4E7B-BF3D-980CE06D355E}" srcId="{D09579E9-0812-4543-9DD8-FB3F32225215}" destId="{A25E0337-D56C-407E-AD55-B647BE57B506}" srcOrd="1" destOrd="0" parTransId="{EFF43055-0F08-4AAB-8B99-4C0741D832B8}" sibTransId="{042F85F1-2D2C-4C45-BBEC-63D67D80FFFC}"/>
    <dgm:cxn modelId="{1CAD3A39-4F15-4281-8080-8291637B9859}" type="presOf" srcId="{9AD30DBD-ECD3-4442-963B-36CBCD015350}" destId="{42E6C836-5635-486E-A6EE-106F1B61A3CE}" srcOrd="0" destOrd="0" presId="urn:microsoft.com/office/officeart/2008/layout/LinedList"/>
    <dgm:cxn modelId="{6E683C5F-6C03-41A6-B08E-A28CAD83690A}" type="presOf" srcId="{A25E0337-D56C-407E-AD55-B647BE57B506}" destId="{82C5BB9E-A88A-48B8-A28A-20972703336D}" srcOrd="0" destOrd="0" presId="urn:microsoft.com/office/officeart/2008/layout/LinedList"/>
    <dgm:cxn modelId="{9792134D-F82F-426B-ABCD-23293A3B2C2E}" type="presOf" srcId="{D09579E9-0812-4543-9DD8-FB3F32225215}" destId="{A340B640-393A-4C06-81F2-4F3E7DF4B69E}" srcOrd="0" destOrd="0" presId="urn:microsoft.com/office/officeart/2008/layout/LinedList"/>
    <dgm:cxn modelId="{04FB576E-0A5C-4187-BE53-2637B8D63C22}" type="presOf" srcId="{F356DE1B-7F31-4ABE-81B5-7B4317B6FF23}" destId="{BB959C85-CC2B-4D7D-853C-ED650F753651}" srcOrd="0" destOrd="0" presId="urn:microsoft.com/office/officeart/2008/layout/LinedList"/>
    <dgm:cxn modelId="{52227D8C-E761-47A2-A03B-6F941CE1B7B3}" srcId="{D09579E9-0812-4543-9DD8-FB3F32225215}" destId="{9AD30DBD-ECD3-4442-963B-36CBCD015350}" srcOrd="2" destOrd="0" parTransId="{7224291F-5969-48AE-AF49-544D2AD53723}" sibTransId="{49F35AD7-832D-47BB-8E37-9DF10E5D590D}"/>
    <dgm:cxn modelId="{D5A200B0-7433-49C7-B277-A915FA8B96D4}" type="presParOf" srcId="{A340B640-393A-4C06-81F2-4F3E7DF4B69E}" destId="{09B007CC-1BA0-4F34-B8B2-BC1D9FFBA93A}" srcOrd="0" destOrd="0" presId="urn:microsoft.com/office/officeart/2008/layout/LinedList"/>
    <dgm:cxn modelId="{0862B672-7866-41BB-A39C-1060F15F0AAD}" type="presParOf" srcId="{A340B640-393A-4C06-81F2-4F3E7DF4B69E}" destId="{4F556C18-B078-48F9-81FB-7A2FFA560A9E}" srcOrd="1" destOrd="0" presId="urn:microsoft.com/office/officeart/2008/layout/LinedList"/>
    <dgm:cxn modelId="{F311D7F7-C29D-4BE2-9D72-5C22AC5D9BAE}" type="presParOf" srcId="{4F556C18-B078-48F9-81FB-7A2FFA560A9E}" destId="{BB959C85-CC2B-4D7D-853C-ED650F753651}" srcOrd="0" destOrd="0" presId="urn:microsoft.com/office/officeart/2008/layout/LinedList"/>
    <dgm:cxn modelId="{2C0D2238-C44F-4D44-95EC-CB18F6F030F2}" type="presParOf" srcId="{4F556C18-B078-48F9-81FB-7A2FFA560A9E}" destId="{91A6CC36-488D-4769-9EE5-A94C6D9E4D30}" srcOrd="1" destOrd="0" presId="urn:microsoft.com/office/officeart/2008/layout/LinedList"/>
    <dgm:cxn modelId="{9A6E0A67-B570-4B5C-B38F-57E2668FE71B}" type="presParOf" srcId="{A340B640-393A-4C06-81F2-4F3E7DF4B69E}" destId="{E33F6229-BE8D-4C17-A4D3-FC40DD28B61A}" srcOrd="2" destOrd="0" presId="urn:microsoft.com/office/officeart/2008/layout/LinedList"/>
    <dgm:cxn modelId="{3E6434BF-956F-4EBF-AACD-0494652876A4}" type="presParOf" srcId="{A340B640-393A-4C06-81F2-4F3E7DF4B69E}" destId="{00754D63-BE0C-4D97-A0E4-65523C4337F5}" srcOrd="3" destOrd="0" presId="urn:microsoft.com/office/officeart/2008/layout/LinedList"/>
    <dgm:cxn modelId="{7EE3F8AC-4136-4524-96CD-80CE1D901644}" type="presParOf" srcId="{00754D63-BE0C-4D97-A0E4-65523C4337F5}" destId="{82C5BB9E-A88A-48B8-A28A-20972703336D}" srcOrd="0" destOrd="0" presId="urn:microsoft.com/office/officeart/2008/layout/LinedList"/>
    <dgm:cxn modelId="{DBEC683A-3CD0-4116-B8F6-BFE5AE90ECCC}" type="presParOf" srcId="{00754D63-BE0C-4D97-A0E4-65523C4337F5}" destId="{E41EB47E-44D0-4137-B003-A9F83438B327}" srcOrd="1" destOrd="0" presId="urn:microsoft.com/office/officeart/2008/layout/LinedList"/>
    <dgm:cxn modelId="{901F9488-50FE-4726-8FF1-79E15DF2FEEC}" type="presParOf" srcId="{A340B640-393A-4C06-81F2-4F3E7DF4B69E}" destId="{75BCDCAC-B279-4F5E-AE03-EE86B128F070}" srcOrd="4" destOrd="0" presId="urn:microsoft.com/office/officeart/2008/layout/LinedList"/>
    <dgm:cxn modelId="{2CF3CBBC-DDC8-41C0-89F0-AF06BD4C63D0}" type="presParOf" srcId="{A340B640-393A-4C06-81F2-4F3E7DF4B69E}" destId="{A71C9FEC-DD6C-4A3F-92EC-B764927A5533}" srcOrd="5" destOrd="0" presId="urn:microsoft.com/office/officeart/2008/layout/LinedList"/>
    <dgm:cxn modelId="{AAF74564-444D-465E-8CE6-A7BFE5CB4376}" type="presParOf" srcId="{A71C9FEC-DD6C-4A3F-92EC-B764927A5533}" destId="{42E6C836-5635-486E-A6EE-106F1B61A3CE}" srcOrd="0" destOrd="0" presId="urn:microsoft.com/office/officeart/2008/layout/LinedList"/>
    <dgm:cxn modelId="{B8C87B18-07E4-4E0C-AEDF-1144EC8FDC07}" type="presParOf" srcId="{A71C9FEC-DD6C-4A3F-92EC-B764927A5533}" destId="{D69A059E-DEB6-43F8-9C76-35934C961327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8CE0F9-F208-47A7-8846-4EEFFCD881CD}">
      <dsp:nvSpPr>
        <dsp:cNvPr id="0" name=""/>
        <dsp:cNvSpPr/>
      </dsp:nvSpPr>
      <dsp:spPr>
        <a:xfrm>
          <a:off x="0" y="544"/>
          <a:ext cx="843498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562219-C2BA-4DF5-98A9-C21290F1756D}">
      <dsp:nvSpPr>
        <dsp:cNvPr id="0" name=""/>
        <dsp:cNvSpPr/>
      </dsp:nvSpPr>
      <dsp:spPr>
        <a:xfrm>
          <a:off x="0" y="544"/>
          <a:ext cx="8434984" cy="3433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Our Location</a:t>
          </a:r>
        </a:p>
      </dsp:txBody>
      <dsp:txXfrm>
        <a:off x="0" y="544"/>
        <a:ext cx="8434984" cy="343333"/>
      </dsp:txXfrm>
    </dsp:sp>
    <dsp:sp modelId="{C4EDA85D-8FA3-4ED1-89B1-0CD009C93457}">
      <dsp:nvSpPr>
        <dsp:cNvPr id="0" name=""/>
        <dsp:cNvSpPr/>
      </dsp:nvSpPr>
      <dsp:spPr>
        <a:xfrm>
          <a:off x="0" y="343878"/>
          <a:ext cx="843498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E886B4-F1CF-4B89-99F6-354D42F8A08E}">
      <dsp:nvSpPr>
        <dsp:cNvPr id="0" name=""/>
        <dsp:cNvSpPr/>
      </dsp:nvSpPr>
      <dsp:spPr>
        <a:xfrm>
          <a:off x="0" y="343878"/>
          <a:ext cx="8434984" cy="3433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Roles</a:t>
          </a:r>
        </a:p>
      </dsp:txBody>
      <dsp:txXfrm>
        <a:off x="0" y="343878"/>
        <a:ext cx="8434984" cy="343333"/>
      </dsp:txXfrm>
    </dsp:sp>
    <dsp:sp modelId="{595EB086-C267-4A31-95A2-9D6522211C31}">
      <dsp:nvSpPr>
        <dsp:cNvPr id="0" name=""/>
        <dsp:cNvSpPr/>
      </dsp:nvSpPr>
      <dsp:spPr>
        <a:xfrm>
          <a:off x="0" y="687211"/>
          <a:ext cx="843498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74B735-CB56-4CA2-8526-D77AC74C02F2}">
      <dsp:nvSpPr>
        <dsp:cNvPr id="0" name=""/>
        <dsp:cNvSpPr/>
      </dsp:nvSpPr>
      <dsp:spPr>
        <a:xfrm>
          <a:off x="0" y="687211"/>
          <a:ext cx="8434984" cy="3433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ISO 14001 (EMS)</a:t>
          </a:r>
        </a:p>
      </dsp:txBody>
      <dsp:txXfrm>
        <a:off x="0" y="687211"/>
        <a:ext cx="8434984" cy="343333"/>
      </dsp:txXfrm>
    </dsp:sp>
    <dsp:sp modelId="{61F65614-8639-4518-AA11-49C6B496DECC}">
      <dsp:nvSpPr>
        <dsp:cNvPr id="0" name=""/>
        <dsp:cNvSpPr/>
      </dsp:nvSpPr>
      <dsp:spPr>
        <a:xfrm>
          <a:off x="0" y="1030544"/>
          <a:ext cx="843498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E2D9F29-E51D-4ACA-BEF5-5A0F15BCF4F2}">
      <dsp:nvSpPr>
        <dsp:cNvPr id="0" name=""/>
        <dsp:cNvSpPr/>
      </dsp:nvSpPr>
      <dsp:spPr>
        <a:xfrm>
          <a:off x="0" y="1030544"/>
          <a:ext cx="8434984" cy="3433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Spills</a:t>
          </a:r>
        </a:p>
      </dsp:txBody>
      <dsp:txXfrm>
        <a:off x="0" y="1030544"/>
        <a:ext cx="8434984" cy="343333"/>
      </dsp:txXfrm>
    </dsp:sp>
    <dsp:sp modelId="{177894E6-5FD7-4710-8464-DE4316831E27}">
      <dsp:nvSpPr>
        <dsp:cNvPr id="0" name=""/>
        <dsp:cNvSpPr/>
      </dsp:nvSpPr>
      <dsp:spPr>
        <a:xfrm>
          <a:off x="0" y="1373878"/>
          <a:ext cx="843498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62479E-A152-4F3A-8D37-7801AA803178}">
      <dsp:nvSpPr>
        <dsp:cNvPr id="0" name=""/>
        <dsp:cNvSpPr/>
      </dsp:nvSpPr>
      <dsp:spPr>
        <a:xfrm>
          <a:off x="0" y="1373878"/>
          <a:ext cx="8434984" cy="3433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Policy</a:t>
          </a:r>
        </a:p>
      </dsp:txBody>
      <dsp:txXfrm>
        <a:off x="0" y="1373878"/>
        <a:ext cx="8434984" cy="343333"/>
      </dsp:txXfrm>
    </dsp:sp>
    <dsp:sp modelId="{4D51F7AF-EBC0-4336-B91D-B141F7882016}">
      <dsp:nvSpPr>
        <dsp:cNvPr id="0" name=""/>
        <dsp:cNvSpPr/>
      </dsp:nvSpPr>
      <dsp:spPr>
        <a:xfrm>
          <a:off x="0" y="1717211"/>
          <a:ext cx="843498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6E83E8-0413-4913-97A5-6E9BE25033EA}">
      <dsp:nvSpPr>
        <dsp:cNvPr id="0" name=""/>
        <dsp:cNvSpPr/>
      </dsp:nvSpPr>
      <dsp:spPr>
        <a:xfrm>
          <a:off x="0" y="1717211"/>
          <a:ext cx="8434984" cy="3433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Environmental Objectives</a:t>
          </a:r>
        </a:p>
      </dsp:txBody>
      <dsp:txXfrm>
        <a:off x="0" y="1717211"/>
        <a:ext cx="8434984" cy="343333"/>
      </dsp:txXfrm>
    </dsp:sp>
    <dsp:sp modelId="{E537B906-3BBB-4694-BCC8-CAC4BED768B8}">
      <dsp:nvSpPr>
        <dsp:cNvPr id="0" name=""/>
        <dsp:cNvSpPr/>
      </dsp:nvSpPr>
      <dsp:spPr>
        <a:xfrm>
          <a:off x="0" y="2060544"/>
          <a:ext cx="843498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28B2A07-A51C-4D44-8FF5-52F98F54D103}">
      <dsp:nvSpPr>
        <dsp:cNvPr id="0" name=""/>
        <dsp:cNvSpPr/>
      </dsp:nvSpPr>
      <dsp:spPr>
        <a:xfrm>
          <a:off x="0" y="2060544"/>
          <a:ext cx="8434984" cy="3433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Chemical/SDS</a:t>
          </a:r>
        </a:p>
      </dsp:txBody>
      <dsp:txXfrm>
        <a:off x="0" y="2060544"/>
        <a:ext cx="8434984" cy="343333"/>
      </dsp:txXfrm>
    </dsp:sp>
    <dsp:sp modelId="{9D9A07A8-C817-460B-B66A-C72F50E57EFC}">
      <dsp:nvSpPr>
        <dsp:cNvPr id="0" name=""/>
        <dsp:cNvSpPr/>
      </dsp:nvSpPr>
      <dsp:spPr>
        <a:xfrm>
          <a:off x="0" y="2403878"/>
          <a:ext cx="843498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2B4456-FA35-4400-832C-6EEE33E8A670}">
      <dsp:nvSpPr>
        <dsp:cNvPr id="0" name=""/>
        <dsp:cNvSpPr/>
      </dsp:nvSpPr>
      <dsp:spPr>
        <a:xfrm>
          <a:off x="0" y="2403878"/>
          <a:ext cx="8434984" cy="3433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Environmental Significant Risks (ESR)</a:t>
          </a:r>
        </a:p>
      </dsp:txBody>
      <dsp:txXfrm>
        <a:off x="0" y="2403878"/>
        <a:ext cx="8434984" cy="343333"/>
      </dsp:txXfrm>
    </dsp:sp>
    <dsp:sp modelId="{59A27A46-2B37-46A7-8742-76D3ACD7D38E}">
      <dsp:nvSpPr>
        <dsp:cNvPr id="0" name=""/>
        <dsp:cNvSpPr/>
      </dsp:nvSpPr>
      <dsp:spPr>
        <a:xfrm>
          <a:off x="0" y="2747211"/>
          <a:ext cx="843498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996B2C5-34CD-4921-BF1F-01C72E4AEA98}">
      <dsp:nvSpPr>
        <dsp:cNvPr id="0" name=""/>
        <dsp:cNvSpPr/>
      </dsp:nvSpPr>
      <dsp:spPr>
        <a:xfrm>
          <a:off x="0" y="2747211"/>
          <a:ext cx="8434984" cy="3433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Air Quality</a:t>
          </a:r>
        </a:p>
      </dsp:txBody>
      <dsp:txXfrm>
        <a:off x="0" y="2747211"/>
        <a:ext cx="8434984" cy="343333"/>
      </dsp:txXfrm>
    </dsp:sp>
    <dsp:sp modelId="{319F8802-5B56-4451-82E5-ACB55B34F9C6}">
      <dsp:nvSpPr>
        <dsp:cNvPr id="0" name=""/>
        <dsp:cNvSpPr/>
      </dsp:nvSpPr>
      <dsp:spPr>
        <a:xfrm>
          <a:off x="0" y="3090544"/>
          <a:ext cx="843498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7B6D3E-32D5-4F91-851C-0951F4C0D20C}">
      <dsp:nvSpPr>
        <dsp:cNvPr id="0" name=""/>
        <dsp:cNvSpPr/>
      </dsp:nvSpPr>
      <dsp:spPr>
        <a:xfrm>
          <a:off x="0" y="3090544"/>
          <a:ext cx="8434984" cy="3433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Waste Handling</a:t>
          </a:r>
        </a:p>
      </dsp:txBody>
      <dsp:txXfrm>
        <a:off x="0" y="3090544"/>
        <a:ext cx="8434984" cy="343333"/>
      </dsp:txXfrm>
    </dsp:sp>
    <dsp:sp modelId="{EB79BEE6-50FC-4234-BB2A-811ACB353C7F}">
      <dsp:nvSpPr>
        <dsp:cNvPr id="0" name=""/>
        <dsp:cNvSpPr/>
      </dsp:nvSpPr>
      <dsp:spPr>
        <a:xfrm>
          <a:off x="0" y="3433878"/>
          <a:ext cx="843498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BF0BBE-C065-4E59-885E-65664B48C91C}">
      <dsp:nvSpPr>
        <dsp:cNvPr id="0" name=""/>
        <dsp:cNvSpPr/>
      </dsp:nvSpPr>
      <dsp:spPr>
        <a:xfrm>
          <a:off x="0" y="3433878"/>
          <a:ext cx="8434984" cy="3433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Water Quality</a:t>
          </a:r>
        </a:p>
      </dsp:txBody>
      <dsp:txXfrm>
        <a:off x="0" y="3433878"/>
        <a:ext cx="8434984" cy="343333"/>
      </dsp:txXfrm>
    </dsp:sp>
    <dsp:sp modelId="{22F4613F-1BD2-4F90-9067-5441F203460E}">
      <dsp:nvSpPr>
        <dsp:cNvPr id="0" name=""/>
        <dsp:cNvSpPr/>
      </dsp:nvSpPr>
      <dsp:spPr>
        <a:xfrm>
          <a:off x="0" y="3777211"/>
          <a:ext cx="843498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1B0D01-4F82-4B9F-860B-1DB30521A944}">
      <dsp:nvSpPr>
        <dsp:cNvPr id="0" name=""/>
        <dsp:cNvSpPr/>
      </dsp:nvSpPr>
      <dsp:spPr>
        <a:xfrm>
          <a:off x="0" y="3777211"/>
          <a:ext cx="8434984" cy="3433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Wildlife Conservation</a:t>
          </a:r>
        </a:p>
      </dsp:txBody>
      <dsp:txXfrm>
        <a:off x="0" y="3777211"/>
        <a:ext cx="8434984" cy="343333"/>
      </dsp:txXfrm>
    </dsp:sp>
    <dsp:sp modelId="{132E10A9-BB00-4EA4-9F63-A1A30769A8CD}">
      <dsp:nvSpPr>
        <dsp:cNvPr id="0" name=""/>
        <dsp:cNvSpPr/>
      </dsp:nvSpPr>
      <dsp:spPr>
        <a:xfrm>
          <a:off x="0" y="4120544"/>
          <a:ext cx="843498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289D98-B9D0-4452-92C9-D51A7BF3E35A}">
      <dsp:nvSpPr>
        <dsp:cNvPr id="0" name=""/>
        <dsp:cNvSpPr/>
      </dsp:nvSpPr>
      <dsp:spPr>
        <a:xfrm>
          <a:off x="0" y="4120544"/>
          <a:ext cx="8434984" cy="3433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Cultural Heritage </a:t>
          </a:r>
        </a:p>
      </dsp:txBody>
      <dsp:txXfrm>
        <a:off x="0" y="4120544"/>
        <a:ext cx="8434984" cy="34333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B007CC-1BA0-4F34-B8B2-BC1D9FFBA93A}">
      <dsp:nvSpPr>
        <dsp:cNvPr id="0" name=""/>
        <dsp:cNvSpPr/>
      </dsp:nvSpPr>
      <dsp:spPr>
        <a:xfrm>
          <a:off x="0" y="2179"/>
          <a:ext cx="843438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959C85-CC2B-4D7D-853C-ED650F753651}">
      <dsp:nvSpPr>
        <dsp:cNvPr id="0" name=""/>
        <dsp:cNvSpPr/>
      </dsp:nvSpPr>
      <dsp:spPr>
        <a:xfrm>
          <a:off x="0" y="2179"/>
          <a:ext cx="8434388" cy="14865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/>
            <a:t>1. Employee Development &amp; Enrichment</a:t>
          </a:r>
        </a:p>
      </dsp:txBody>
      <dsp:txXfrm>
        <a:off x="0" y="2179"/>
        <a:ext cx="8434388" cy="1486563"/>
      </dsp:txXfrm>
    </dsp:sp>
    <dsp:sp modelId="{E33F6229-BE8D-4C17-A4D3-FC40DD28B61A}">
      <dsp:nvSpPr>
        <dsp:cNvPr id="0" name=""/>
        <dsp:cNvSpPr/>
      </dsp:nvSpPr>
      <dsp:spPr>
        <a:xfrm>
          <a:off x="0" y="1488743"/>
          <a:ext cx="843438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C5BB9E-A88A-48B8-A28A-20972703336D}">
      <dsp:nvSpPr>
        <dsp:cNvPr id="0" name=""/>
        <dsp:cNvSpPr/>
      </dsp:nvSpPr>
      <dsp:spPr>
        <a:xfrm>
          <a:off x="0" y="1488743"/>
          <a:ext cx="8434388" cy="14865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/>
            <a:t>2. Waste Minimization &amp; Pollution Prevention</a:t>
          </a:r>
        </a:p>
      </dsp:txBody>
      <dsp:txXfrm>
        <a:off x="0" y="1488743"/>
        <a:ext cx="8434388" cy="1486563"/>
      </dsp:txXfrm>
    </dsp:sp>
    <dsp:sp modelId="{75BCDCAC-B279-4F5E-AE03-EE86B128F070}">
      <dsp:nvSpPr>
        <dsp:cNvPr id="0" name=""/>
        <dsp:cNvSpPr/>
      </dsp:nvSpPr>
      <dsp:spPr>
        <a:xfrm>
          <a:off x="0" y="2975306"/>
          <a:ext cx="843438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2E6C836-5635-486E-A6EE-106F1B61A3CE}">
      <dsp:nvSpPr>
        <dsp:cNvPr id="0" name=""/>
        <dsp:cNvSpPr/>
      </dsp:nvSpPr>
      <dsp:spPr>
        <a:xfrm>
          <a:off x="0" y="2975306"/>
          <a:ext cx="8434388" cy="14865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/>
            <a:t>3. Bring Environmental Social and Governance to the forefront of Environmental Services</a:t>
          </a:r>
        </a:p>
      </dsp:txBody>
      <dsp:txXfrm>
        <a:off x="0" y="2975306"/>
        <a:ext cx="8434388" cy="148656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EED030-48CC-D340-A246-BA954A3A0B49}" type="datetimeFigureOut">
              <a:rPr lang="en-US" smtClean="0"/>
              <a:t>8/1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880130-CE8D-E640-9639-E0473270C6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9944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880130-CE8D-E640-9639-E0473270C6C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7394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5EDAB92-6666-445B-AD14-F63AD802C1F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318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ossible question and suggested answer:</a:t>
            </a:r>
          </a:p>
          <a:p>
            <a:r>
              <a:rPr lang="en-US"/>
              <a:t>Question: “That site looks really cool! Where is it?”</a:t>
            </a:r>
          </a:p>
          <a:p>
            <a:r>
              <a:rPr lang="en-US"/>
              <a:t>Environmental Answer: “The site is located in an undisturbed area of FMI Morenci property. In efforts to protect these sites, we disclose exact locations only as direct business needs require.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880130-CE8D-E640-9639-E0473270C6CB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0006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jpe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emf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4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image" Target="../media/image13.jpeg"/><Relationship Id="rId7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6" Type="http://schemas.openxmlformats.org/officeDocument/2006/relationships/image" Target="../media/image19.jpe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oleObject" Target="../embeddings/oleObject21.bin"/><Relationship Id="rId7" Type="http://schemas.openxmlformats.org/officeDocument/2006/relationships/image" Target="../media/image20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6" Type="http://schemas.openxmlformats.org/officeDocument/2006/relationships/image" Target="../media/image17.png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image" Target="../media/image5.jpeg"/><Relationship Id="rId7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3.jpeg"/><Relationship Id="rId7" Type="http://schemas.openxmlformats.org/officeDocument/2006/relationships/image" Target="../media/image2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6" Type="http://schemas.openxmlformats.org/officeDocument/2006/relationships/image" Target="../media/image21.emf"/><Relationship Id="rId5" Type="http://schemas.openxmlformats.org/officeDocument/2006/relationships/image" Target="../media/image18.png"/><Relationship Id="rId10" Type="http://schemas.openxmlformats.org/officeDocument/2006/relationships/image" Target="../media/image1.emf"/><Relationship Id="rId4" Type="http://schemas.openxmlformats.org/officeDocument/2006/relationships/image" Target="../media/image17.png"/><Relationship Id="rId9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cover_C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2F97CAD-A4B6-497D-B24E-7AFBCD7ECD3B}"/>
              </a:ext>
            </a:extLst>
          </p:cNvPr>
          <p:cNvSpPr/>
          <p:nvPr userDrawn="1"/>
        </p:nvSpPr>
        <p:spPr>
          <a:xfrm>
            <a:off x="0" y="-68580"/>
            <a:ext cx="9144000" cy="11914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3" name="Picture 22" descr="A picture containing outdoor, scene, laser, night&#10;&#10;Description automatically generated">
            <a:extLst>
              <a:ext uri="{FF2B5EF4-FFF2-40B4-BE49-F238E27FC236}">
                <a16:creationId xmlns:a16="http://schemas.microsoft.com/office/drawing/2014/main" id="{72D34820-406C-43CD-81D7-AFF4642122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2500" t="16428" r="12500" b="43098"/>
          <a:stretch/>
        </p:blipFill>
        <p:spPr>
          <a:xfrm>
            <a:off x="0" y="1122829"/>
            <a:ext cx="9144000" cy="4612341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8318CF3E-4F3E-4272-BC14-7B29107DD74A}"/>
              </a:ext>
            </a:extLst>
          </p:cNvPr>
          <p:cNvSpPr/>
          <p:nvPr userDrawn="1"/>
        </p:nvSpPr>
        <p:spPr>
          <a:xfrm>
            <a:off x="0" y="1757862"/>
            <a:ext cx="9144000" cy="397730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78148"/>
                </a:schemeClr>
              </a:gs>
              <a:gs pos="33000">
                <a:srgbClr val="552620">
                  <a:alpha val="59016"/>
                </a:srgbClr>
              </a:gs>
              <a:gs pos="59000">
                <a:srgbClr val="BB5D00">
                  <a:alpha val="45711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12AC50BD-04DD-4B9E-852D-7B18E039507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74767" y="404535"/>
            <a:ext cx="3165507" cy="194715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9842561-822A-4200-B6E2-97D8E733B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918121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9842561-822A-4200-B6E2-97D8E733B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767" y="1153972"/>
            <a:ext cx="6547527" cy="141826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6AEC3D-15C1-EF4E-BA0B-4BCF9CA6B8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4767" y="2656626"/>
            <a:ext cx="6547527" cy="1519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E81B84C1-4218-4AC9-A5F3-389CEC41B15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alphaModFix amt="50000"/>
          </a:blip>
          <a:srcRect/>
          <a:stretch/>
        </p:blipFill>
        <p:spPr>
          <a:xfrm>
            <a:off x="6934386" y="5947822"/>
            <a:ext cx="1955179" cy="548404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F3F34DCD-8F58-4ED4-86F9-7A2868F84251}"/>
              </a:ext>
            </a:extLst>
          </p:cNvPr>
          <p:cNvSpPr txBox="1"/>
          <p:nvPr userDrawn="1"/>
        </p:nvSpPr>
        <p:spPr>
          <a:xfrm>
            <a:off x="2568894" y="6090879"/>
            <a:ext cx="7725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solidFill>
                  <a:schemeClr val="tx1">
                    <a:alpha val="50098"/>
                  </a:schemeClr>
                </a:solidFill>
                <a:latin typeface="+mj-lt"/>
              </a:rPr>
              <a:t>fcx.com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A80E129F-19F1-49E3-B3B0-5F25C9B1C59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alphaModFix amt="51000"/>
          </a:blip>
          <a:srcRect/>
          <a:stretch/>
        </p:blipFill>
        <p:spPr>
          <a:xfrm>
            <a:off x="372935" y="5950669"/>
            <a:ext cx="541374" cy="543393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75D91D4D-E399-4B54-B405-945EFF42DEDF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alphaModFix amt="50000"/>
          </a:blip>
          <a:srcRect/>
          <a:stretch/>
        </p:blipFill>
        <p:spPr>
          <a:xfrm>
            <a:off x="1385960" y="5959524"/>
            <a:ext cx="789851" cy="54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125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2F7E14-F9CD-4D03-B41A-33F3FEAD4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02202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2F7E14-F9CD-4D03-B41A-33F3FEAD4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491C27-2F53-EE42-B78B-37814FC582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532051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rgbClr val="BB5D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D34AEA-C535-3C48-B0FB-9E5740413B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355963"/>
            <a:ext cx="3887391" cy="3684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buClr>
                <a:srgbClr val="DF572A"/>
              </a:buClr>
              <a:defRPr sz="2400"/>
            </a:lvl2pPr>
            <a:lvl3pPr>
              <a:buClr>
                <a:srgbClr val="DF572A"/>
              </a:buClr>
              <a:defRPr sz="2400"/>
            </a:lvl3pPr>
            <a:lvl4pPr>
              <a:buClr>
                <a:srgbClr val="DF572A"/>
              </a:buClr>
              <a:defRPr sz="2400"/>
            </a:lvl4pPr>
            <a:lvl5pPr>
              <a:buClr>
                <a:srgbClr val="DF572A"/>
              </a:buCl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63FB4CB-CF24-374A-A9FB-91654E21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113" y="356006"/>
            <a:ext cx="7260715" cy="705531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lnSpc>
                <a:spcPct val="90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2A52495-7B77-4DB9-8E3F-9495782DB1C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9144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A599D75-BE60-4D23-8C36-E65838767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FC69C6DC-6153-4195-B4E8-81A149B737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113" y="1504955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rgbClr val="BB5D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BA675432-1578-4F06-A50A-43FE8D5E657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86113" y="2328867"/>
            <a:ext cx="3887391" cy="3684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buClr>
                <a:srgbClr val="DF572A"/>
              </a:buClr>
              <a:defRPr sz="2400"/>
            </a:lvl2pPr>
            <a:lvl3pPr>
              <a:buClr>
                <a:srgbClr val="DF572A"/>
              </a:buClr>
              <a:defRPr sz="2400"/>
            </a:lvl3pPr>
            <a:lvl4pPr>
              <a:buClr>
                <a:srgbClr val="DF572A"/>
              </a:buClr>
              <a:defRPr sz="2400"/>
            </a:lvl4pPr>
            <a:lvl5pPr>
              <a:buClr>
                <a:srgbClr val="DF572A"/>
              </a:buCl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33586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blank tex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132DD1-6B33-4309-82A8-752481CA67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67073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132DD1-6B33-4309-82A8-752481CA6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4DF4BA91-A2A2-4736-95CB-1BD645CC23F2}"/>
              </a:ext>
            </a:extLst>
          </p:cNvPr>
          <p:cNvCxnSpPr>
            <a:cxnSpLocks/>
          </p:cNvCxnSpPr>
          <p:nvPr userDrawn="1"/>
        </p:nvCxnSpPr>
        <p:spPr>
          <a:xfrm>
            <a:off x="740047" y="4948280"/>
            <a:ext cx="0" cy="422796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9998861-0A5F-4954-B8BE-DF0F6A1F4250}"/>
              </a:ext>
            </a:extLst>
          </p:cNvPr>
          <p:cNvCxnSpPr>
            <a:cxnSpLocks/>
          </p:cNvCxnSpPr>
          <p:nvPr userDrawn="1"/>
        </p:nvCxnSpPr>
        <p:spPr>
          <a:xfrm>
            <a:off x="4572000" y="2539746"/>
            <a:ext cx="0" cy="1446101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DB510F7-909D-4B7F-B125-397D738514D0}"/>
              </a:ext>
            </a:extLst>
          </p:cNvPr>
          <p:cNvCxnSpPr>
            <a:cxnSpLocks/>
          </p:cNvCxnSpPr>
          <p:nvPr userDrawn="1"/>
        </p:nvCxnSpPr>
        <p:spPr>
          <a:xfrm flipH="1">
            <a:off x="2096966" y="3319673"/>
            <a:ext cx="4910346" cy="1402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052774F6-69CD-4B05-9AA2-D50CCFE57E31}"/>
              </a:ext>
            </a:extLst>
          </p:cNvPr>
          <p:cNvSpPr/>
          <p:nvPr userDrawn="1"/>
        </p:nvSpPr>
        <p:spPr>
          <a:xfrm>
            <a:off x="0" y="1139968"/>
            <a:ext cx="9144000" cy="17383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4240752-EDEA-41D7-89DB-252A470E04F4}"/>
              </a:ext>
            </a:extLst>
          </p:cNvPr>
          <p:cNvCxnSpPr>
            <a:cxnSpLocks/>
          </p:cNvCxnSpPr>
          <p:nvPr userDrawn="1"/>
        </p:nvCxnSpPr>
        <p:spPr>
          <a:xfrm>
            <a:off x="4572000" y="1139967"/>
            <a:ext cx="0" cy="2931388"/>
          </a:xfrm>
          <a:prstGeom prst="line">
            <a:avLst/>
          </a:prstGeom>
          <a:ln w="19050">
            <a:solidFill>
              <a:srgbClr val="FF67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5">
            <a:extLst>
              <a:ext uri="{FF2B5EF4-FFF2-40B4-BE49-F238E27FC236}">
                <a16:creationId xmlns:a16="http://schemas.microsoft.com/office/drawing/2014/main" id="{F1FA932B-1BFD-44EB-99B4-5A9C1DB140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04759" y="1286313"/>
            <a:ext cx="4065016" cy="128478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buClr>
                <a:srgbClr val="BB5D00"/>
              </a:buClr>
              <a:defRPr sz="1800"/>
            </a:lvl2pPr>
            <a:lvl3pPr>
              <a:buClr>
                <a:srgbClr val="BB5D00"/>
              </a:buClr>
              <a:defRPr sz="18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45E2C1F7-B1E8-4685-B6B6-CBB84934A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67B8A56-E4BB-41C5-971B-EA9557624D5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73359" y="6507850"/>
            <a:ext cx="5522983" cy="28906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1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*footnot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4B92207-A3E0-4D30-B754-7BD03F890EA2}"/>
              </a:ext>
            </a:extLst>
          </p:cNvPr>
          <p:cNvSpPr/>
          <p:nvPr userDrawn="1"/>
        </p:nvSpPr>
        <p:spPr>
          <a:xfrm>
            <a:off x="98129" y="5122546"/>
            <a:ext cx="1283835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91E0F9B-17A1-4742-BBEA-18FD4100958D}"/>
              </a:ext>
            </a:extLst>
          </p:cNvPr>
          <p:cNvSpPr/>
          <p:nvPr userDrawn="1"/>
        </p:nvSpPr>
        <p:spPr>
          <a:xfrm>
            <a:off x="3504604" y="2695370"/>
            <a:ext cx="2134792" cy="1431131"/>
          </a:xfrm>
          <a:prstGeom prst="rect">
            <a:avLst/>
          </a:prstGeom>
          <a:solidFill>
            <a:srgbClr val="FF67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8" name="Content Placeholder 5">
            <a:extLst>
              <a:ext uri="{FF2B5EF4-FFF2-40B4-BE49-F238E27FC236}">
                <a16:creationId xmlns:a16="http://schemas.microsoft.com/office/drawing/2014/main" id="{CDA47430-F8D5-4F07-A45B-86AEC1038F3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973459" y="1258703"/>
            <a:ext cx="4031349" cy="137848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buClr>
                <a:srgbClr val="BB5D00"/>
              </a:buClr>
              <a:defRPr sz="1800"/>
            </a:lvl2pPr>
            <a:lvl3pPr>
              <a:buClr>
                <a:srgbClr val="BB5D00"/>
              </a:buClr>
              <a:defRPr sz="18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2BF3A96-C10D-481B-B7D7-7378A143A0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2632" y="2858368"/>
            <a:ext cx="1933769" cy="1112509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0F6F3D3-1D9F-4009-91D2-AD6A281F1E70}"/>
              </a:ext>
            </a:extLst>
          </p:cNvPr>
          <p:cNvCxnSpPr>
            <a:cxnSpLocks/>
          </p:cNvCxnSpPr>
          <p:nvPr userDrawn="1"/>
        </p:nvCxnSpPr>
        <p:spPr>
          <a:xfrm>
            <a:off x="2096966" y="3319674"/>
            <a:ext cx="0" cy="1944745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9DF5748C-833B-4C7D-A7FD-C83C6CBED9B5}"/>
              </a:ext>
            </a:extLst>
          </p:cNvPr>
          <p:cNvSpPr/>
          <p:nvPr userDrawn="1"/>
        </p:nvSpPr>
        <p:spPr>
          <a:xfrm>
            <a:off x="962757" y="3840258"/>
            <a:ext cx="2268416" cy="961292"/>
          </a:xfrm>
          <a:prstGeom prst="rect">
            <a:avLst/>
          </a:prstGeom>
          <a:solidFill>
            <a:srgbClr val="982F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F43AF7-9766-4038-BF82-554F2B07497D}"/>
              </a:ext>
            </a:extLst>
          </p:cNvPr>
          <p:cNvSpPr/>
          <p:nvPr userDrawn="1"/>
        </p:nvSpPr>
        <p:spPr>
          <a:xfrm>
            <a:off x="1455047" y="5122546"/>
            <a:ext cx="1283835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973B15DC-252E-4A5A-BF03-D27EDB410F40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1081885" y="3893626"/>
            <a:ext cx="2030161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DEC8FF88-B71B-41B5-AC00-168A2E5166CE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161745" y="5196483"/>
            <a:ext cx="1156606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7D216F02-569A-49FD-9C4D-7D73017830D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1500872" y="5196483"/>
            <a:ext cx="1156606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48E157A5-F1FB-4A99-9B17-594E2875C801}"/>
              </a:ext>
            </a:extLst>
          </p:cNvPr>
          <p:cNvCxnSpPr>
            <a:cxnSpLocks/>
          </p:cNvCxnSpPr>
          <p:nvPr userDrawn="1"/>
        </p:nvCxnSpPr>
        <p:spPr>
          <a:xfrm flipH="1">
            <a:off x="740047" y="4960414"/>
            <a:ext cx="2708348" cy="0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BA69A6C8-BBBA-4A5A-BD8E-4F2863C7A10B}"/>
              </a:ext>
            </a:extLst>
          </p:cNvPr>
          <p:cNvCxnSpPr>
            <a:cxnSpLocks/>
          </p:cNvCxnSpPr>
          <p:nvPr userDrawn="1"/>
        </p:nvCxnSpPr>
        <p:spPr>
          <a:xfrm>
            <a:off x="3448394" y="4948280"/>
            <a:ext cx="0" cy="422796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C21CD03D-DAF3-4B68-9DAA-9279D235C59F}"/>
              </a:ext>
            </a:extLst>
          </p:cNvPr>
          <p:cNvSpPr/>
          <p:nvPr userDrawn="1"/>
        </p:nvSpPr>
        <p:spPr>
          <a:xfrm>
            <a:off x="2806477" y="5122546"/>
            <a:ext cx="1283835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F1E28928-A85C-4454-8E07-56AD06E6BACF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870092" y="5196483"/>
            <a:ext cx="1156606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E6D2E2D0-8215-46A3-AD69-C5AFAEF00569}"/>
              </a:ext>
            </a:extLst>
          </p:cNvPr>
          <p:cNvCxnSpPr>
            <a:cxnSpLocks/>
          </p:cNvCxnSpPr>
          <p:nvPr userDrawn="1"/>
        </p:nvCxnSpPr>
        <p:spPr>
          <a:xfrm>
            <a:off x="5645572" y="4949116"/>
            <a:ext cx="0" cy="422796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78">
            <a:extLst>
              <a:ext uri="{FF2B5EF4-FFF2-40B4-BE49-F238E27FC236}">
                <a16:creationId xmlns:a16="http://schemas.microsoft.com/office/drawing/2014/main" id="{9F6E2181-ED29-490C-AB34-125262619C19}"/>
              </a:ext>
            </a:extLst>
          </p:cNvPr>
          <p:cNvSpPr/>
          <p:nvPr userDrawn="1"/>
        </p:nvSpPr>
        <p:spPr>
          <a:xfrm>
            <a:off x="5003654" y="5123382"/>
            <a:ext cx="1283835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DB5D549-495F-4858-B322-93010E4861D7}"/>
              </a:ext>
            </a:extLst>
          </p:cNvPr>
          <p:cNvCxnSpPr>
            <a:cxnSpLocks/>
          </p:cNvCxnSpPr>
          <p:nvPr userDrawn="1"/>
        </p:nvCxnSpPr>
        <p:spPr>
          <a:xfrm>
            <a:off x="7002491" y="3320510"/>
            <a:ext cx="0" cy="1944745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30ED4439-13DE-479E-A463-246F49A524CB}"/>
              </a:ext>
            </a:extLst>
          </p:cNvPr>
          <p:cNvSpPr/>
          <p:nvPr userDrawn="1"/>
        </p:nvSpPr>
        <p:spPr>
          <a:xfrm>
            <a:off x="5868282" y="3841094"/>
            <a:ext cx="2268416" cy="961292"/>
          </a:xfrm>
          <a:prstGeom prst="rect">
            <a:avLst/>
          </a:prstGeom>
          <a:solidFill>
            <a:srgbClr val="982F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375DF85-9F61-4788-9BED-D3DBE454A64F}"/>
              </a:ext>
            </a:extLst>
          </p:cNvPr>
          <p:cNvSpPr/>
          <p:nvPr userDrawn="1"/>
        </p:nvSpPr>
        <p:spPr>
          <a:xfrm>
            <a:off x="6360572" y="5123382"/>
            <a:ext cx="1283835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EEDAD94D-E1FB-4D24-A8B3-449950C2AED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87410" y="3894462"/>
            <a:ext cx="2030161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728B71F6-9F1B-41DB-8D19-B0731D26E2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67270" y="5197319"/>
            <a:ext cx="1156606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5" name="Text Placeholder 4">
            <a:extLst>
              <a:ext uri="{FF2B5EF4-FFF2-40B4-BE49-F238E27FC236}">
                <a16:creationId xmlns:a16="http://schemas.microsoft.com/office/drawing/2014/main" id="{667487F2-4941-46C6-9FB0-2C531469B3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06397" y="5197319"/>
            <a:ext cx="1156606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9A90B50-AEC3-4FC8-980D-AF91F3CBB90E}"/>
              </a:ext>
            </a:extLst>
          </p:cNvPr>
          <p:cNvCxnSpPr>
            <a:cxnSpLocks/>
          </p:cNvCxnSpPr>
          <p:nvPr userDrawn="1"/>
        </p:nvCxnSpPr>
        <p:spPr>
          <a:xfrm flipH="1">
            <a:off x="5645572" y="4961250"/>
            <a:ext cx="2708348" cy="0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56006CEA-F0ED-4ED3-BF84-B157B5ADB00A}"/>
              </a:ext>
            </a:extLst>
          </p:cNvPr>
          <p:cNvCxnSpPr>
            <a:cxnSpLocks/>
          </p:cNvCxnSpPr>
          <p:nvPr userDrawn="1"/>
        </p:nvCxnSpPr>
        <p:spPr>
          <a:xfrm>
            <a:off x="8353919" y="4949116"/>
            <a:ext cx="0" cy="422796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4B818BFA-42E5-4866-B523-39CFE9BB711E}"/>
              </a:ext>
            </a:extLst>
          </p:cNvPr>
          <p:cNvSpPr/>
          <p:nvPr userDrawn="1"/>
        </p:nvSpPr>
        <p:spPr>
          <a:xfrm>
            <a:off x="7712002" y="5123382"/>
            <a:ext cx="1283835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9" name="Text Placeholder 4">
            <a:extLst>
              <a:ext uri="{FF2B5EF4-FFF2-40B4-BE49-F238E27FC236}">
                <a16:creationId xmlns:a16="http://schemas.microsoft.com/office/drawing/2014/main" id="{16783C8E-525C-4200-BC40-71437B30C9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75617" y="5197319"/>
            <a:ext cx="1156606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0" name="Title Placeholder 1">
            <a:extLst>
              <a:ext uri="{FF2B5EF4-FFF2-40B4-BE49-F238E27FC236}">
                <a16:creationId xmlns:a16="http://schemas.microsoft.com/office/drawing/2014/main" id="{37452136-C22D-4604-ADDF-C87346C98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13209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blank tex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AB77CE24-C6F6-4C55-9986-ACC5659A91C7}"/>
              </a:ext>
            </a:extLst>
          </p:cNvPr>
          <p:cNvSpPr/>
          <p:nvPr userDrawn="1"/>
        </p:nvSpPr>
        <p:spPr>
          <a:xfrm>
            <a:off x="4680663" y="2791459"/>
            <a:ext cx="1285163" cy="3533331"/>
          </a:xfrm>
          <a:prstGeom prst="rect">
            <a:avLst/>
          </a:prstGeom>
          <a:solidFill>
            <a:srgbClr val="C14628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5CBDE44-D234-4DFA-90B1-695AF07458B7}"/>
              </a:ext>
            </a:extLst>
          </p:cNvPr>
          <p:cNvSpPr/>
          <p:nvPr userDrawn="1"/>
        </p:nvSpPr>
        <p:spPr>
          <a:xfrm>
            <a:off x="265153" y="2791459"/>
            <a:ext cx="1285163" cy="3533331"/>
          </a:xfrm>
          <a:prstGeom prst="rect">
            <a:avLst/>
          </a:prstGeom>
          <a:solidFill>
            <a:srgbClr val="FBE6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3A19812-3E96-4571-8400-195B0A995BA8}"/>
              </a:ext>
            </a:extLst>
          </p:cNvPr>
          <p:cNvSpPr/>
          <p:nvPr userDrawn="1"/>
        </p:nvSpPr>
        <p:spPr>
          <a:xfrm>
            <a:off x="1736989" y="2791459"/>
            <a:ext cx="1285163" cy="3533331"/>
          </a:xfrm>
          <a:prstGeom prst="rect">
            <a:avLst/>
          </a:prstGeom>
          <a:solidFill>
            <a:srgbClr val="FBCA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5B511AE-D6FC-43B1-B105-CE39AC2692E9}"/>
              </a:ext>
            </a:extLst>
          </p:cNvPr>
          <p:cNvSpPr/>
          <p:nvPr userDrawn="1"/>
        </p:nvSpPr>
        <p:spPr>
          <a:xfrm>
            <a:off x="3208826" y="2791459"/>
            <a:ext cx="1285163" cy="3533331"/>
          </a:xfrm>
          <a:prstGeom prst="rect">
            <a:avLst/>
          </a:prstGeom>
          <a:solidFill>
            <a:srgbClr val="FFB0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1278DD3-7936-4A18-A2FF-D24E250BB003}"/>
              </a:ext>
            </a:extLst>
          </p:cNvPr>
          <p:cNvSpPr/>
          <p:nvPr userDrawn="1"/>
        </p:nvSpPr>
        <p:spPr>
          <a:xfrm>
            <a:off x="6152500" y="2791459"/>
            <a:ext cx="1285163" cy="3533331"/>
          </a:xfrm>
          <a:prstGeom prst="rect">
            <a:avLst/>
          </a:prstGeom>
          <a:solidFill>
            <a:srgbClr val="C58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759B849-BB03-467B-A9F4-6E2FCEDDCA8B}"/>
              </a:ext>
            </a:extLst>
          </p:cNvPr>
          <p:cNvSpPr/>
          <p:nvPr userDrawn="1"/>
        </p:nvSpPr>
        <p:spPr>
          <a:xfrm>
            <a:off x="7624336" y="2791459"/>
            <a:ext cx="1285163" cy="3533331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673586-8545-43F4-B4B0-74EE7F0A07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15936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673586-8545-43F4-B4B0-74EE7F0A0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052774F6-69CD-4B05-9AA2-D50CCFE57E31}"/>
              </a:ext>
            </a:extLst>
          </p:cNvPr>
          <p:cNvSpPr/>
          <p:nvPr userDrawn="1"/>
        </p:nvSpPr>
        <p:spPr>
          <a:xfrm>
            <a:off x="0" y="1139967"/>
            <a:ext cx="9144000" cy="14479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1" name="Content Placeholder 5">
            <a:extLst>
              <a:ext uri="{FF2B5EF4-FFF2-40B4-BE49-F238E27FC236}">
                <a16:creationId xmlns:a16="http://schemas.microsoft.com/office/drawing/2014/main" id="{F1FA932B-1BFD-44EB-99B4-5A9C1DB140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04759" y="1286314"/>
            <a:ext cx="4189230" cy="12221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buClr>
                <a:srgbClr val="BB5D00"/>
              </a:buClr>
              <a:defRPr sz="1800"/>
            </a:lvl2pPr>
            <a:lvl3pPr>
              <a:buClr>
                <a:srgbClr val="BB5D00"/>
              </a:buClr>
              <a:defRPr sz="18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45E2C1F7-B1E8-4685-B6B6-CBB84934A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67B8A56-E4BB-41C5-971B-EA9557624D5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73359" y="6507850"/>
            <a:ext cx="5522983" cy="28906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9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*footnotes</a:t>
            </a:r>
          </a:p>
        </p:txBody>
      </p:sp>
      <p:sp>
        <p:nvSpPr>
          <p:cNvPr id="38" name="Content Placeholder 5">
            <a:extLst>
              <a:ext uri="{FF2B5EF4-FFF2-40B4-BE49-F238E27FC236}">
                <a16:creationId xmlns:a16="http://schemas.microsoft.com/office/drawing/2014/main" id="{CDA47430-F8D5-4F07-A45B-86AEC1038F3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80664" y="1258703"/>
            <a:ext cx="4228836" cy="12497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buClr>
                <a:srgbClr val="BB5D00"/>
              </a:buClr>
              <a:defRPr sz="1800"/>
            </a:lvl2pPr>
            <a:lvl3pPr>
              <a:buClr>
                <a:srgbClr val="BB5D00"/>
              </a:buClr>
              <a:defRPr sz="18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0" name="Content Placeholder 5">
            <a:extLst>
              <a:ext uri="{FF2B5EF4-FFF2-40B4-BE49-F238E27FC236}">
                <a16:creationId xmlns:a16="http://schemas.microsoft.com/office/drawing/2014/main" id="{9B885894-6438-4B2C-ACAE-C131BFE6FBD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38440" y="2862754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bg1">
                  <a:lumMod val="65000"/>
                </a:schemeClr>
              </a:buClr>
              <a:defRPr lang="en-US" sz="12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marL="117475" lvl="0" indent="-1174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</p:txBody>
      </p:sp>
      <p:sp>
        <p:nvSpPr>
          <p:cNvPr id="67" name="Content Placeholder 5">
            <a:extLst>
              <a:ext uri="{FF2B5EF4-FFF2-40B4-BE49-F238E27FC236}">
                <a16:creationId xmlns:a16="http://schemas.microsoft.com/office/drawing/2014/main" id="{7C84AF60-AB61-4C06-8408-F5D1D148785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814633" y="2862754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bg1">
                  <a:lumMod val="65000"/>
                </a:schemeClr>
              </a:buClr>
              <a:defRPr lang="en-US" sz="12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marL="117475" lvl="0" indent="-1174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</p:txBody>
      </p:sp>
      <p:sp>
        <p:nvSpPr>
          <p:cNvPr id="68" name="Content Placeholder 5">
            <a:extLst>
              <a:ext uri="{FF2B5EF4-FFF2-40B4-BE49-F238E27FC236}">
                <a16:creationId xmlns:a16="http://schemas.microsoft.com/office/drawing/2014/main" id="{57C299B1-10F3-4A97-A4DC-31FF1214457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3098" y="2862754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200"/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Content Placeholder 5">
            <a:extLst>
              <a:ext uri="{FF2B5EF4-FFF2-40B4-BE49-F238E27FC236}">
                <a16:creationId xmlns:a16="http://schemas.microsoft.com/office/drawing/2014/main" id="{6EA5D6E1-A3A3-4C4B-8103-695F71A3D42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749291" y="2862754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2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Content Placeholder 5">
            <a:extLst>
              <a:ext uri="{FF2B5EF4-FFF2-40B4-BE49-F238E27FC236}">
                <a16:creationId xmlns:a16="http://schemas.microsoft.com/office/drawing/2014/main" id="{2D46B905-C63D-4E2A-9141-3CA33DA3A36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25078" y="2862754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2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Content Placeholder 5">
            <a:extLst>
              <a:ext uri="{FF2B5EF4-FFF2-40B4-BE49-F238E27FC236}">
                <a16:creationId xmlns:a16="http://schemas.microsoft.com/office/drawing/2014/main" id="{897FDB16-D210-489B-87C0-CF2FD385CA16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701271" y="2862754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2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DF2934-BD51-41D1-BBAC-E2C0CFC681B5}"/>
              </a:ext>
            </a:extLst>
          </p:cNvPr>
          <p:cNvPicPr preferRelativeResize="0"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" y="2508437"/>
            <a:ext cx="9144001" cy="77678"/>
          </a:xfrm>
          <a:prstGeom prst="rect">
            <a:avLst/>
          </a:prstGeom>
        </p:spPr>
      </p:pic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61E3973C-4FA3-4F1F-A657-CD1E94B24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23637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blank tex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052774F6-69CD-4B05-9AA2-D50CCFE57E31}"/>
              </a:ext>
            </a:extLst>
          </p:cNvPr>
          <p:cNvSpPr/>
          <p:nvPr userDrawn="1"/>
        </p:nvSpPr>
        <p:spPr>
          <a:xfrm>
            <a:off x="0" y="1139967"/>
            <a:ext cx="9144000" cy="18256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1DAD216-0C11-4D70-A38F-9BAB18367B13}"/>
              </a:ext>
            </a:extLst>
          </p:cNvPr>
          <p:cNvSpPr/>
          <p:nvPr userDrawn="1"/>
        </p:nvSpPr>
        <p:spPr>
          <a:xfrm>
            <a:off x="265153" y="1479923"/>
            <a:ext cx="1285163" cy="1142613"/>
          </a:xfrm>
          <a:prstGeom prst="rect">
            <a:avLst/>
          </a:prstGeom>
          <a:solidFill>
            <a:srgbClr val="FBE6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7A5F751-E869-44D8-8B66-FA510AB156F3}"/>
              </a:ext>
            </a:extLst>
          </p:cNvPr>
          <p:cNvSpPr/>
          <p:nvPr userDrawn="1"/>
        </p:nvSpPr>
        <p:spPr>
          <a:xfrm>
            <a:off x="1736989" y="1479923"/>
            <a:ext cx="1285163" cy="1142613"/>
          </a:xfrm>
          <a:prstGeom prst="rect">
            <a:avLst/>
          </a:prstGeom>
          <a:solidFill>
            <a:srgbClr val="FBCA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333C7C6-E901-4D27-B7B3-68B1D0610C69}"/>
              </a:ext>
            </a:extLst>
          </p:cNvPr>
          <p:cNvSpPr/>
          <p:nvPr userDrawn="1"/>
        </p:nvSpPr>
        <p:spPr>
          <a:xfrm>
            <a:off x="3208826" y="1479923"/>
            <a:ext cx="1285163" cy="1142613"/>
          </a:xfrm>
          <a:prstGeom prst="rect">
            <a:avLst/>
          </a:prstGeom>
          <a:solidFill>
            <a:srgbClr val="FFB0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9120345-A674-4944-A7E7-C3A91C18AD10}"/>
              </a:ext>
            </a:extLst>
          </p:cNvPr>
          <p:cNvSpPr/>
          <p:nvPr userDrawn="1"/>
        </p:nvSpPr>
        <p:spPr>
          <a:xfrm>
            <a:off x="4680663" y="1479923"/>
            <a:ext cx="1285163" cy="1142613"/>
          </a:xfrm>
          <a:prstGeom prst="rect">
            <a:avLst/>
          </a:prstGeom>
          <a:solidFill>
            <a:srgbClr val="DF9F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B8D2967-2613-4A4B-AB79-1BB3081735B2}"/>
              </a:ext>
            </a:extLst>
          </p:cNvPr>
          <p:cNvSpPr/>
          <p:nvPr userDrawn="1"/>
        </p:nvSpPr>
        <p:spPr>
          <a:xfrm>
            <a:off x="6152500" y="1479923"/>
            <a:ext cx="1285163" cy="1142613"/>
          </a:xfrm>
          <a:prstGeom prst="rect">
            <a:avLst/>
          </a:prstGeom>
          <a:solidFill>
            <a:srgbClr val="C58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E11C49D-C64F-4A69-BB88-48CDFA1D32A9}"/>
              </a:ext>
            </a:extLst>
          </p:cNvPr>
          <p:cNvSpPr/>
          <p:nvPr userDrawn="1"/>
        </p:nvSpPr>
        <p:spPr>
          <a:xfrm>
            <a:off x="7624336" y="1479923"/>
            <a:ext cx="1285163" cy="1142613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80FEF1-66C7-4B19-978A-B53E1DFFF3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4221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80FEF1-66C7-4B19-978A-B53E1DFFF3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45E2C1F7-B1E8-4685-B6B6-CBB84934A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67B8A56-E4BB-41C5-971B-EA9557624D5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73359" y="6507850"/>
            <a:ext cx="5522983" cy="28906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*footnotes</a:t>
            </a:r>
          </a:p>
        </p:txBody>
      </p:sp>
      <p:sp>
        <p:nvSpPr>
          <p:cNvPr id="60" name="Content Placeholder 5">
            <a:extLst>
              <a:ext uri="{FF2B5EF4-FFF2-40B4-BE49-F238E27FC236}">
                <a16:creationId xmlns:a16="http://schemas.microsoft.com/office/drawing/2014/main" id="{9B885894-6438-4B2C-ACAE-C131BFE6FBD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38440" y="3167552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bg1">
                  <a:lumMod val="65000"/>
                </a:schemeClr>
              </a:buClr>
              <a:defRPr lang="en-US" sz="10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marL="117475" lvl="0" indent="-1174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</p:txBody>
      </p:sp>
      <p:sp>
        <p:nvSpPr>
          <p:cNvPr id="67" name="Content Placeholder 5">
            <a:extLst>
              <a:ext uri="{FF2B5EF4-FFF2-40B4-BE49-F238E27FC236}">
                <a16:creationId xmlns:a16="http://schemas.microsoft.com/office/drawing/2014/main" id="{7C84AF60-AB61-4C06-8408-F5D1D148785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814633" y="3167552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bg1">
                  <a:lumMod val="65000"/>
                </a:schemeClr>
              </a:buClr>
              <a:defRPr lang="en-US" sz="10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marL="117475" lvl="0" indent="-1174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/>
              <a:t>Click to edit Master text styles</a:t>
            </a:r>
          </a:p>
        </p:txBody>
      </p:sp>
      <p:sp>
        <p:nvSpPr>
          <p:cNvPr id="68" name="Content Placeholder 5">
            <a:extLst>
              <a:ext uri="{FF2B5EF4-FFF2-40B4-BE49-F238E27FC236}">
                <a16:creationId xmlns:a16="http://schemas.microsoft.com/office/drawing/2014/main" id="{57C299B1-10F3-4A97-A4DC-31FF1214457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3098" y="3167552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000"/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Content Placeholder 5">
            <a:extLst>
              <a:ext uri="{FF2B5EF4-FFF2-40B4-BE49-F238E27FC236}">
                <a16:creationId xmlns:a16="http://schemas.microsoft.com/office/drawing/2014/main" id="{6EA5D6E1-A3A3-4C4B-8103-695F71A3D42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749291" y="3167552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0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Content Placeholder 5">
            <a:extLst>
              <a:ext uri="{FF2B5EF4-FFF2-40B4-BE49-F238E27FC236}">
                <a16:creationId xmlns:a16="http://schemas.microsoft.com/office/drawing/2014/main" id="{2D46B905-C63D-4E2A-9141-3CA33DA3A36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25078" y="3167552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0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Content Placeholder 5">
            <a:extLst>
              <a:ext uri="{FF2B5EF4-FFF2-40B4-BE49-F238E27FC236}">
                <a16:creationId xmlns:a16="http://schemas.microsoft.com/office/drawing/2014/main" id="{897FDB16-D210-489B-87C0-CF2FD385CA16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701271" y="3167552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0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DF2934-BD51-41D1-BBAC-E2C0CFC681B5}"/>
              </a:ext>
            </a:extLst>
          </p:cNvPr>
          <p:cNvPicPr preferRelativeResize="0">
            <a:picLocks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" y="2965634"/>
            <a:ext cx="9144001" cy="7767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684F6A-893D-41EB-9820-C0DAD3A6101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510" y="1479550"/>
            <a:ext cx="1284684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272F46ED-9343-49DD-9A83-F2DC554F9D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36868" y="1482710"/>
            <a:ext cx="1284684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4DDCC7AD-5CA6-412B-8BB6-9678E110A29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09305" y="1482710"/>
            <a:ext cx="1284684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12E12C7-3567-4028-A036-619845DE1EC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71886" y="1482710"/>
            <a:ext cx="1284684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7B56DEC4-21E4-481E-8F54-DB0B52360D1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52500" y="1482710"/>
            <a:ext cx="1284684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C15EE8ED-CCF8-4F15-830D-A740A196AA7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3858" y="1473585"/>
            <a:ext cx="1284684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Title Placeholder 1">
            <a:extLst>
              <a:ext uri="{FF2B5EF4-FFF2-40B4-BE49-F238E27FC236}">
                <a16:creationId xmlns:a16="http://schemas.microsoft.com/office/drawing/2014/main" id="{B063E648-C976-4A67-BA43-1782E86432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81926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AC184B6-8E5F-4DCD-82CC-5E3D357DA5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06527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AC184B6-8E5F-4DCD-82CC-5E3D357DA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A0A69D-9160-5E4B-A5D8-01020EE0E9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1386348"/>
            <a:ext cx="4629150" cy="44747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buClr>
                <a:srgbClr val="DF572A"/>
              </a:buClr>
              <a:defRPr sz="2400"/>
            </a:lvl2pPr>
            <a:lvl3pPr>
              <a:buClr>
                <a:srgbClr val="DF572A"/>
              </a:buClr>
              <a:defRPr sz="2400"/>
            </a:lvl3pPr>
            <a:lvl4pPr>
              <a:buClr>
                <a:srgbClr val="DF572A"/>
              </a:buClr>
              <a:defRPr sz="2400"/>
            </a:lvl4pPr>
            <a:lvl5pPr>
              <a:buClr>
                <a:srgbClr val="DF572A"/>
              </a:buClr>
              <a:defRPr sz="2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D78420-F087-474C-9203-5D73EC4C87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386348"/>
            <a:ext cx="2949178" cy="44826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6B0335-55AA-A44C-9C89-813457DB99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829D9C-64D8-3841-9C54-079F29D47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0B9583-D75D-384C-83CA-258F75C28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493999"/>
            <a:ext cx="2686049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511F11"/>
                </a:solidFill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6D1738A-1F8B-435C-9DC7-77F58418B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58997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C39D67-BBE6-4ABD-AC6C-64B022DEB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36085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C39D67-BBE6-4ABD-AC6C-64B022DEB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11DAB44-3933-4383-A7E8-C2260715D422}"/>
              </a:ext>
            </a:extLst>
          </p:cNvPr>
          <p:cNvSpPr/>
          <p:nvPr userDrawn="1"/>
        </p:nvSpPr>
        <p:spPr>
          <a:xfrm>
            <a:off x="0" y="-83127"/>
            <a:ext cx="9144001" cy="6941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60048B-215C-2742-B3BD-2C887A2EE1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474921" y="613187"/>
            <a:ext cx="6166076" cy="5397247"/>
          </a:xfrm>
          <a:prstGeom prst="rect">
            <a:avLst/>
          </a:prstGeom>
        </p:spPr>
        <p:txBody>
          <a:bodyPr vert="eaVert"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buClr>
                <a:srgbClr val="BB5D00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rgbClr val="BB5D00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rgbClr val="BB5D00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FA6E46B-8646-4537-AA80-3EBD1F240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-109618" y="6413707"/>
            <a:ext cx="548267" cy="26952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F3E441-BE8C-4916-A8BD-904DE4EB6A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37092" b="60808"/>
          <a:stretch/>
        </p:blipFill>
        <p:spPr>
          <a:xfrm rot="5400000">
            <a:off x="5540835" y="3254837"/>
            <a:ext cx="6941129" cy="265203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B242E6-61D1-44BD-BFA5-E1979DCE966F}"/>
              </a:ext>
            </a:extLst>
          </p:cNvPr>
          <p:cNvCxnSpPr>
            <a:cxnSpLocks/>
          </p:cNvCxnSpPr>
          <p:nvPr userDrawn="1"/>
        </p:nvCxnSpPr>
        <p:spPr>
          <a:xfrm>
            <a:off x="7902083" y="-14998"/>
            <a:ext cx="0" cy="6872998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3B37B435-E887-4972-B40F-6EA45C59FB1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 rot="5400000">
            <a:off x="7844054" y="6006514"/>
            <a:ext cx="1048042" cy="220472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56771AEE-C76D-499A-99C6-64134E39A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5169662" y="3300969"/>
            <a:ext cx="6441557" cy="6017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F30B730-1E97-4E57-8F15-45C9CC9F084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822678" y="3331934"/>
            <a:ext cx="2377440" cy="111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0718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FD113D-43B7-D641-8134-9CB10485662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9144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8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75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BA8965-8D92-47B8-BE22-6129AE55D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114" y="1519521"/>
            <a:ext cx="7929237" cy="44644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6472" indent="-177404">
              <a:buClr>
                <a:srgbClr val="DF572A"/>
              </a:buClr>
              <a:buFont typeface="Arial" panose="020B0604020202020204" pitchFamily="34" charset="0"/>
              <a:buChar char="‒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16731" indent="-170260">
              <a:buClr>
                <a:srgbClr val="DF572A"/>
              </a:buCl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85800" indent="-169069">
              <a:buClr>
                <a:srgbClr val="DF572A"/>
              </a:buCl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54869" indent="-169069">
              <a:buClr>
                <a:srgbClr val="DF572A"/>
              </a:buCl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CA127294-ACFE-41D3-AA99-C6ED42905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9" y="365128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04346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F0789D05-1F3A-0FA9-26DA-9B8441A400B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00" r="40162" b="16988"/>
          <a:stretch/>
        </p:blipFill>
        <p:spPr bwMode="auto">
          <a:xfrm>
            <a:off x="0" y="-6350"/>
            <a:ext cx="9192090" cy="6883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26D8DAF-39A9-A001-BCBC-90634CB74A81}"/>
              </a:ext>
            </a:extLst>
          </p:cNvPr>
          <p:cNvSpPr/>
          <p:nvPr userDrawn="1"/>
        </p:nvSpPr>
        <p:spPr>
          <a:xfrm>
            <a:off x="706438" y="-14288"/>
            <a:ext cx="4042750" cy="68770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2" name="Picture 18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6E03886F-D138-7BDF-8801-35702BBA50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8534" y="1013311"/>
            <a:ext cx="3789110" cy="1505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" descr="A black and orange logo&#10;&#10;Description automatically generated">
            <a:extLst>
              <a:ext uri="{FF2B5EF4-FFF2-40B4-BE49-F238E27FC236}">
                <a16:creationId xmlns:a16="http://schemas.microsoft.com/office/drawing/2014/main" id="{526D9D2F-CCD3-EE84-E7A0-DB556D6D404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1788" y="5943600"/>
            <a:ext cx="2432050" cy="80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823C86D1-D06B-2959-C0E8-EF0E64DA2550}"/>
              </a:ext>
            </a:extLst>
          </p:cNvPr>
          <p:cNvPicPr preferRelativeResize="0">
            <a:picLocks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5"/>
          <a:stretch>
            <a:fillRect/>
          </a:stretch>
        </p:blipFill>
        <p:spPr bwMode="auto">
          <a:xfrm>
            <a:off x="4710612" y="-14288"/>
            <a:ext cx="46038" cy="688340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69163">
                <a:alpha val="43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CCD3959C-8BD7-1C2A-A9A8-51FBAB7EC044}"/>
              </a:ext>
            </a:extLst>
          </p:cNvPr>
          <p:cNvPicPr preferRelativeResize="0">
            <a:picLocks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75"/>
          <a:stretch>
            <a:fillRect/>
          </a:stretch>
        </p:blipFill>
        <p:spPr bwMode="auto">
          <a:xfrm>
            <a:off x="669925" y="0"/>
            <a:ext cx="46038" cy="686593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F69163">
                <a:alpha val="43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B10529-FBDC-4621-8DD5-517C7CBDC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5" progId="TCLayout.ActiveDocument.1">
                  <p:embed/>
                </p:oleObj>
              </mc:Choice>
              <mc:Fallback>
                <p:oleObj name="think-cell Slide" r:id="rId7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B10529-FBDC-4621-8DD5-517C7CBDC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itle 1">
            <a:extLst>
              <a:ext uri="{FF2B5EF4-FFF2-40B4-BE49-F238E27FC236}">
                <a16:creationId xmlns:a16="http://schemas.microsoft.com/office/drawing/2014/main" id="{4FDD1E2D-BB2B-4239-A4C5-B675E66B42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64100" y="1242277"/>
            <a:ext cx="3527427" cy="809625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000" b="1" i="0" kern="1200" dirty="0">
                <a:solidFill>
                  <a:srgbClr val="7A604D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F6F1A4D-4E58-4865-AF8D-418B2FE3EA10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8319752" y="6577563"/>
            <a:ext cx="824248" cy="280436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E0571A0-DE0A-F9E1-0E02-2DDE941EB32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987119" y="3095313"/>
            <a:ext cx="3481389" cy="6578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 b="1">
                <a:solidFill>
                  <a:srgbClr val="934E15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12399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ppendi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B10529-FBDC-4621-8DD5-517C7CBDC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B10529-FBDC-4621-8DD5-517C7CBDC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E3DA4D8A-1C1C-4C01-B4D7-4BAD698EFC34}"/>
              </a:ext>
            </a:extLst>
          </p:cNvPr>
          <p:cNvSpPr/>
          <p:nvPr userDrawn="1"/>
        </p:nvSpPr>
        <p:spPr>
          <a:xfrm>
            <a:off x="2383" y="0"/>
            <a:ext cx="9141617" cy="13132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4FDD1E2D-BB2B-4239-A4C5-B675E66B42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9116" y="1950099"/>
            <a:ext cx="7903083" cy="807393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000" b="1" i="0" kern="1200" dirty="0">
                <a:solidFill>
                  <a:srgbClr val="7A604D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F6F1A4D-4E58-4865-AF8D-418B2FE3EA10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8319752" y="6577563"/>
            <a:ext cx="824248" cy="280436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20C11B64-0E48-0792-C6A3-D975EC04A89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49" r="29078" b="67675"/>
          <a:stretch/>
        </p:blipFill>
        <p:spPr bwMode="auto">
          <a:xfrm>
            <a:off x="0" y="0"/>
            <a:ext cx="9144000" cy="165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75C67242-0CEA-EBAD-42C5-59778C0EB41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15" y="234950"/>
            <a:ext cx="3214687" cy="1277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0CEBC34-A16A-8704-C780-53EB3E481E7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248189" y="782770"/>
            <a:ext cx="2174011" cy="609911"/>
          </a:xfrm>
          <a:prstGeom prst="rect">
            <a:avLst/>
          </a:prstGeom>
          <a:noFill/>
          <a:ln>
            <a:noFill/>
          </a:ln>
          <a:effectLst>
            <a:outerShdw dir="5400000" algn="ctr" rotWithShape="0">
              <a:srgbClr val="332E29"/>
            </a:outerShdw>
            <a:softEdge rad="0"/>
          </a:effectLst>
        </p:spPr>
      </p:pic>
      <p:pic>
        <p:nvPicPr>
          <p:cNvPr id="7" name="Picture 6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16AC72AF-3AB0-08C1-7CC8-EB33B8F9B2D4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8"/>
          <a:srcRect t="76875"/>
          <a:stretch/>
        </p:blipFill>
        <p:spPr>
          <a:xfrm>
            <a:off x="519117" y="2757492"/>
            <a:ext cx="7903082" cy="45719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B13D619-FBFD-0B33-AE1F-A82BFE50BA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00093" y="3006187"/>
            <a:ext cx="4722106" cy="322732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20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61963" indent="-236538" algn="l" defTabSz="914400" rtl="0" eaLnBrk="1" latinLnBrk="0" hangingPunct="1">
              <a:lnSpc>
                <a:spcPct val="90000"/>
              </a:lnSpc>
              <a:buClr>
                <a:srgbClr val="BB5D00"/>
              </a:buClr>
              <a:buFont typeface="Arial" panose="020B0604020202020204" pitchFamily="34" charset="0"/>
              <a:buChar char="‒"/>
              <a:defRPr lang="en-US" sz="18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8975" indent="-227013"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indent="-225425"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39825" indent="-225425" algn="l" defTabSz="914400" rtl="0" eaLnBrk="1" latinLnBrk="0" hangingPunct="1">
              <a:lnSpc>
                <a:spcPct val="90000"/>
              </a:lnSpc>
              <a:buClr>
                <a:srgbClr val="BB5D00"/>
              </a:buClr>
              <a:buFont typeface="Arial" panose="020B0604020202020204" pitchFamily="34" charset="0"/>
              <a:buChar char="–"/>
              <a:defRPr lang="en-US" sz="12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E0571A0-DE0A-F9E1-0E02-2DDE941EB3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19117" y="3006187"/>
            <a:ext cx="3081930" cy="32273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rgbClr val="934E15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4385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98971" y="6577563"/>
            <a:ext cx="1045029" cy="280438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BA8965-8D92-47B8-BE22-6129AE55D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9365" y="1519519"/>
            <a:ext cx="8434984" cy="446442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20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61963" indent="-236538" algn="l" defTabSz="914400" rtl="0" eaLnBrk="1" latinLnBrk="0" hangingPunct="1">
              <a:lnSpc>
                <a:spcPct val="90000"/>
              </a:lnSpc>
              <a:buClr>
                <a:srgbClr val="BB5D00"/>
              </a:buClr>
              <a:buFont typeface="Arial" panose="020B0604020202020204" pitchFamily="34" charset="0"/>
              <a:buChar char="‒"/>
              <a:defRPr lang="en-US" sz="18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8975" indent="-227013"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16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indent="-225425" algn="l" defTabSz="914400" rtl="0" eaLnBrk="1" latinLnBrk="0" hangingPunct="1">
              <a:lnSpc>
                <a:spcPct val="90000"/>
              </a:lnSpc>
              <a:buClr>
                <a:srgbClr val="BB5D00"/>
              </a:buClr>
              <a:defRPr lang="en-US" sz="14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39825" indent="-225425" algn="l" defTabSz="914400" rtl="0" eaLnBrk="1" latinLnBrk="0" hangingPunct="1">
              <a:lnSpc>
                <a:spcPct val="90000"/>
              </a:lnSpc>
              <a:buClr>
                <a:srgbClr val="BB5D00"/>
              </a:buClr>
              <a:buFont typeface="Arial" panose="020B0604020202020204" pitchFamily="34" charset="0"/>
              <a:buChar char="–"/>
              <a:defRPr lang="en-US" sz="12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CA127294-ACFE-41D3-AA99-C6ED42905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365" y="365126"/>
            <a:ext cx="6499180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987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outdoor, scene, laser, night&#10;&#10;Description automatically generated">
            <a:extLst>
              <a:ext uri="{FF2B5EF4-FFF2-40B4-BE49-F238E27FC236}">
                <a16:creationId xmlns:a16="http://schemas.microsoft.com/office/drawing/2014/main" id="{3862D993-5F2E-4B18-80B3-67CAC417CB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9705" t="12131" r="39705" b="27718"/>
          <a:stretch/>
        </p:blipFill>
        <p:spPr>
          <a:xfrm>
            <a:off x="6633712" y="3176"/>
            <a:ext cx="2510287" cy="6854824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66F7D4-492E-43AB-8EBD-78BC7D879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99035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66F7D4-492E-43AB-8EBD-78BC7D879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ADA7E213-B5D3-43CF-A495-0A5DE4864EB3}"/>
              </a:ext>
            </a:extLst>
          </p:cNvPr>
          <p:cNvSpPr/>
          <p:nvPr userDrawn="1"/>
        </p:nvSpPr>
        <p:spPr>
          <a:xfrm>
            <a:off x="6633712" y="1433146"/>
            <a:ext cx="2510287" cy="542485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78148"/>
                </a:schemeClr>
              </a:gs>
              <a:gs pos="33000">
                <a:srgbClr val="552620">
                  <a:alpha val="59016"/>
                </a:srgbClr>
              </a:gs>
              <a:gs pos="59000">
                <a:srgbClr val="BB5D00">
                  <a:alpha val="45711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2F97CAD-A4B6-497D-B24E-7AFBCD7ECD3B}"/>
              </a:ext>
            </a:extLst>
          </p:cNvPr>
          <p:cNvSpPr/>
          <p:nvPr userDrawn="1"/>
        </p:nvSpPr>
        <p:spPr>
          <a:xfrm>
            <a:off x="0" y="-68580"/>
            <a:ext cx="6633712" cy="12810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767" y="1296852"/>
            <a:ext cx="6129550" cy="15511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6AEC3D-15C1-EF4E-BA0B-4BCF9CA6B8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4767" y="3038476"/>
            <a:ext cx="6129550" cy="12802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490BBC2-F2AC-AE4F-B833-4B56262ABDA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50000"/>
          </a:blip>
          <a:srcRect/>
          <a:stretch/>
        </p:blipFill>
        <p:spPr>
          <a:xfrm>
            <a:off x="6991816" y="5924105"/>
            <a:ext cx="1466384" cy="548404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DCEA6F8-6D29-4C21-A617-D0A00639AA9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19791" y="5954966"/>
            <a:ext cx="1955179" cy="54665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E730E894-DF49-4046-BCFD-FCC14B1E1E4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74767" y="404535"/>
            <a:ext cx="3165507" cy="194715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86E0C134-5B11-42AA-8ABB-9EEAF0E34B67}"/>
              </a:ext>
            </a:extLst>
          </p:cNvPr>
          <p:cNvSpPr txBox="1"/>
          <p:nvPr userDrawn="1"/>
        </p:nvSpPr>
        <p:spPr>
          <a:xfrm>
            <a:off x="2568894" y="6090879"/>
            <a:ext cx="7725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>
                <a:solidFill>
                  <a:schemeClr val="tx1">
                    <a:alpha val="50098"/>
                  </a:schemeClr>
                </a:solidFill>
                <a:latin typeface="+mj-lt"/>
              </a:rPr>
              <a:t>fcx.com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075505B-291B-4626-9DCB-4F432B99A4F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alphaModFix amt="51000"/>
          </a:blip>
          <a:srcRect/>
          <a:stretch/>
        </p:blipFill>
        <p:spPr>
          <a:xfrm>
            <a:off x="372935" y="5950669"/>
            <a:ext cx="541374" cy="543393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D7EA982F-0971-4B93-A167-EC37F6A280B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alphaModFix amt="50000"/>
          </a:blip>
          <a:srcRect/>
          <a:stretch/>
        </p:blipFill>
        <p:spPr>
          <a:xfrm>
            <a:off x="1385960" y="5959524"/>
            <a:ext cx="789851" cy="54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022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DD2E83BB-F3D2-8CE3-3E8A-302B8AFF8D0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88" r="40476" b="22900"/>
          <a:stretch/>
        </p:blipFill>
        <p:spPr bwMode="auto">
          <a:xfrm>
            <a:off x="0" y="3"/>
            <a:ext cx="9147176" cy="686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09109906-EE4D-E035-142C-C93E35323F5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64" y="215904"/>
            <a:ext cx="5013325" cy="1992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B8C15D9-3A2D-53E1-80FC-A0061DE286AB}"/>
              </a:ext>
            </a:extLst>
          </p:cNvPr>
          <p:cNvSpPr/>
          <p:nvPr userDrawn="1"/>
        </p:nvSpPr>
        <p:spPr>
          <a:xfrm>
            <a:off x="6535503" y="5851998"/>
            <a:ext cx="2261036" cy="796021"/>
          </a:xfrm>
          <a:prstGeom prst="rect">
            <a:avLst/>
          </a:prstGeom>
          <a:solidFill>
            <a:schemeClr val="bg1">
              <a:alpha val="89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pic>
        <p:nvPicPr>
          <p:cNvPr id="10" name="Picture 4" descr="A black and orange logo&#10;&#10;Description automatically generated">
            <a:extLst>
              <a:ext uri="{FF2B5EF4-FFF2-40B4-BE49-F238E27FC236}">
                <a16:creationId xmlns:a16="http://schemas.microsoft.com/office/drawing/2014/main" id="{C70EFF6C-7D12-BA43-1111-7E641DA7A13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7568" y="5907951"/>
            <a:ext cx="2163651" cy="719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0">
            <a:extLst>
              <a:ext uri="{FF2B5EF4-FFF2-40B4-BE49-F238E27FC236}">
                <a16:creationId xmlns:a16="http://schemas.microsoft.com/office/drawing/2014/main" id="{184C7C21-2B27-0E73-8AC8-10B8CBA42E4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542252" y="6035236"/>
            <a:ext cx="479425" cy="481012"/>
          </a:xfrm>
          <a:prstGeom prst="rect">
            <a:avLst/>
          </a:prstGeom>
          <a:noFill/>
          <a:ln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Graphic 29">
            <a:extLst>
              <a:ext uri="{FF2B5EF4-FFF2-40B4-BE49-F238E27FC236}">
                <a16:creationId xmlns:a16="http://schemas.microsoft.com/office/drawing/2014/main" id="{31EB4D05-2C37-019C-731A-B0D2728771F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549095" y="6074265"/>
            <a:ext cx="1312863" cy="430213"/>
          </a:xfrm>
          <a:prstGeom prst="rect">
            <a:avLst/>
          </a:prstGeom>
          <a:noFill/>
          <a:ln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9">
            <a:extLst>
              <a:ext uri="{FF2B5EF4-FFF2-40B4-BE49-F238E27FC236}">
                <a16:creationId xmlns:a16="http://schemas.microsoft.com/office/drawing/2014/main" id="{EA17FDF3-A107-4972-4789-0E1D92B6936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0192" y="6322930"/>
            <a:ext cx="77470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rgbClr val="D6412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200">
                <a:solidFill>
                  <a:schemeClr val="bg1"/>
                </a:solidFill>
              </a:rPr>
              <a:t>fcx.com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3E667D9-51FF-114A-0A8E-241E8604F0B4}"/>
              </a:ext>
            </a:extLst>
          </p:cNvPr>
          <p:cNvGrpSpPr/>
          <p:nvPr userDrawn="1"/>
        </p:nvGrpSpPr>
        <p:grpSpPr>
          <a:xfrm>
            <a:off x="3380222" y="5938618"/>
            <a:ext cx="646265" cy="611360"/>
            <a:chOff x="3545592" y="5872612"/>
            <a:chExt cx="646265" cy="61136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B39F76C-9C45-E9CB-6126-560A8E380BE9}"/>
                </a:ext>
              </a:extLst>
            </p:cNvPr>
            <p:cNvSpPr/>
            <p:nvPr userDrawn="1"/>
          </p:nvSpPr>
          <p:spPr>
            <a:xfrm>
              <a:off x="3590693" y="5923528"/>
              <a:ext cx="517416" cy="520135"/>
            </a:xfrm>
            <a:prstGeom prst="rect">
              <a:avLst/>
            </a:prstGeom>
            <a:solidFill>
              <a:srgbClr val="6F58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6" name="Picture 15" descr="A black and white logo&#10;&#10;Description automatically generated">
              <a:extLst>
                <a:ext uri="{FF2B5EF4-FFF2-40B4-BE49-F238E27FC236}">
                  <a16:creationId xmlns:a16="http://schemas.microsoft.com/office/drawing/2014/main" id="{68099A0A-42E0-E1DA-CAC5-9A75EBF93F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3545592" y="5872612"/>
              <a:ext cx="646265" cy="611360"/>
            </a:xfrm>
            <a:prstGeom prst="rect">
              <a:avLst/>
            </a:prstGeom>
          </p:spPr>
        </p:pic>
      </p:grp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9842561-822A-4200-B6E2-97D8E733B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5" progId="TCLayout.ActiveDocument.1">
                  <p:embed/>
                </p:oleObj>
              </mc:Choice>
              <mc:Fallback>
                <p:oleObj name="think-cell Slide" r:id="rId9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9842561-822A-4200-B6E2-97D8E733B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A674D97-538F-CAFB-99C6-F0E3746E042C}"/>
              </a:ext>
            </a:extLst>
          </p:cNvPr>
          <p:cNvSpPr txBox="1"/>
          <p:nvPr userDrawn="1"/>
        </p:nvSpPr>
        <p:spPr>
          <a:xfrm>
            <a:off x="2958863" y="6577435"/>
            <a:ext cx="138132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i="1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All Operating Sites</a:t>
            </a:r>
            <a:endParaRPr lang="en-US" sz="1000" i="1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71125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2F7E14-F9CD-4D03-B41A-33F3FEAD4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2F7E14-F9CD-4D03-B41A-33F3FEAD4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491C27-2F53-EE42-B78B-37814FC582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1" y="1532051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solidFill>
                  <a:srgbClr val="BB5D00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D34AEA-C535-3C48-B0FB-9E5740413B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1" y="2355963"/>
            <a:ext cx="3887391" cy="3684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buClr>
                <a:srgbClr val="DF572A"/>
              </a:buClr>
              <a:defRPr sz="1800"/>
            </a:lvl2pPr>
            <a:lvl3pPr>
              <a:buClr>
                <a:srgbClr val="DF572A"/>
              </a:buClr>
              <a:defRPr sz="1800"/>
            </a:lvl3pPr>
            <a:lvl4pPr>
              <a:buClr>
                <a:srgbClr val="DF572A"/>
              </a:buClr>
              <a:defRPr sz="1800"/>
            </a:lvl4pPr>
            <a:lvl5pPr>
              <a:buClr>
                <a:srgbClr val="DF572A"/>
              </a:buCl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63FB4CB-CF24-374A-A9FB-91654E21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114" y="356008"/>
            <a:ext cx="7260715" cy="705531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lnSpc>
                <a:spcPct val="90000"/>
              </a:lnSpc>
              <a:defRPr sz="21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2A52495-7B77-4DB9-8E3F-9495782DB1C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9144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A599D75-BE60-4D23-8C36-E65838767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8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75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FC69C6DC-6153-4195-B4E8-81A149B737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114" y="1504955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solidFill>
                  <a:srgbClr val="BB5D00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BA675432-1578-4F06-A50A-43FE8D5E657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86114" y="2328867"/>
            <a:ext cx="3887391" cy="3684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buClr>
                <a:srgbClr val="DF572A"/>
              </a:buClr>
              <a:defRPr sz="1800"/>
            </a:lvl2pPr>
            <a:lvl3pPr>
              <a:buClr>
                <a:srgbClr val="DF572A"/>
              </a:buClr>
              <a:defRPr sz="1800"/>
            </a:lvl3pPr>
            <a:lvl4pPr>
              <a:buClr>
                <a:srgbClr val="DF572A"/>
              </a:buClr>
              <a:defRPr sz="1800"/>
            </a:lvl4pPr>
            <a:lvl5pPr>
              <a:buClr>
                <a:srgbClr val="DF572A"/>
              </a:buCl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23982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ppendi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outdoor, scene, laser, night&#10;&#10;Description automatically generated">
            <a:extLst>
              <a:ext uri="{FF2B5EF4-FFF2-40B4-BE49-F238E27FC236}">
                <a16:creationId xmlns:a16="http://schemas.microsoft.com/office/drawing/2014/main" id="{0A61DB4D-6C43-4E37-89BE-D86451A21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9705" t="21956" r="39705" b="27718"/>
          <a:stretch/>
        </p:blipFill>
        <p:spPr>
          <a:xfrm>
            <a:off x="6633712" y="1122828"/>
            <a:ext cx="2510287" cy="573517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9BF879B-4B64-484F-AB11-169FA7CADE82}"/>
              </a:ext>
            </a:extLst>
          </p:cNvPr>
          <p:cNvSpPr/>
          <p:nvPr userDrawn="1"/>
        </p:nvSpPr>
        <p:spPr>
          <a:xfrm>
            <a:off x="6633712" y="1433146"/>
            <a:ext cx="2510287" cy="542485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78148"/>
                </a:schemeClr>
              </a:gs>
              <a:gs pos="33000">
                <a:srgbClr val="552620">
                  <a:alpha val="59016"/>
                </a:srgbClr>
              </a:gs>
              <a:gs pos="59000">
                <a:srgbClr val="BB5D00">
                  <a:alpha val="45711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B10529-FBDC-4621-8DD5-517C7CBDC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82104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B10529-FBDC-4621-8DD5-517C7CBDC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872925A-36CF-4822-B8B6-8516BC564653}"/>
              </a:ext>
            </a:extLst>
          </p:cNvPr>
          <p:cNvSpPr/>
          <p:nvPr userDrawn="1"/>
        </p:nvSpPr>
        <p:spPr>
          <a:xfrm>
            <a:off x="0" y="-68580"/>
            <a:ext cx="9144000" cy="11914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296852"/>
            <a:ext cx="5472113" cy="141826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6AEC3D-15C1-EF4E-BA0B-4BCF9CA6B8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2799506"/>
            <a:ext cx="5472113" cy="1519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AE88ECE-2157-4F99-AEB7-CD3A31B58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42217E-1C67-4757-81FD-2DCD5A3DD5B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74767" y="404535"/>
            <a:ext cx="3165507" cy="1947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670CB36-F7E8-4E8E-AC99-7EEDC17DE3F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19791" y="5954966"/>
            <a:ext cx="1955179" cy="546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115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FD113D-43B7-D641-8134-9CB10485662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9144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BA8965-8D92-47B8-BE22-6129AE55D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113" y="1519519"/>
            <a:ext cx="7929237" cy="44644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1963" indent="-236538">
              <a:buClr>
                <a:srgbClr val="DF572A"/>
              </a:buClr>
              <a:buFont typeface="Arial" panose="020B0604020202020204" pitchFamily="34" charset="0"/>
              <a:buChar char="‒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8975" indent="-227013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5425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39825" indent="-225425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CA127294-ACFE-41D3-AA99-C6ED42905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987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72A385F-36DD-46FB-A566-F5EABF7F0EE1}"/>
              </a:ext>
            </a:extLst>
          </p:cNvPr>
          <p:cNvSpPr/>
          <p:nvPr userDrawn="1"/>
        </p:nvSpPr>
        <p:spPr>
          <a:xfrm>
            <a:off x="2382" y="1123504"/>
            <a:ext cx="9141618" cy="15693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36323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FD113D-43B7-D641-8134-9CB10485662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9144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93DBAB-33E2-42FF-8425-76A9F1C1A2E7}"/>
              </a:ext>
            </a:extLst>
          </p:cNvPr>
          <p:cNvSpPr/>
          <p:nvPr userDrawn="1"/>
        </p:nvSpPr>
        <p:spPr>
          <a:xfrm>
            <a:off x="6894614" y="2882263"/>
            <a:ext cx="2181739" cy="3113095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A6F5BF-D6F4-4749-A47E-53D716145806}"/>
              </a:ext>
            </a:extLst>
          </p:cNvPr>
          <p:cNvSpPr/>
          <p:nvPr userDrawn="1"/>
        </p:nvSpPr>
        <p:spPr>
          <a:xfrm>
            <a:off x="331680" y="4930440"/>
            <a:ext cx="158620" cy="222956"/>
          </a:xfrm>
          <a:prstGeom prst="rect">
            <a:avLst/>
          </a:prstGeom>
          <a:solidFill>
            <a:srgbClr val="A222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019F31B-DDC9-4E7A-8A22-64E121314F2B}"/>
              </a:ext>
            </a:extLst>
          </p:cNvPr>
          <p:cNvSpPr/>
          <p:nvPr userDrawn="1"/>
        </p:nvSpPr>
        <p:spPr>
          <a:xfrm>
            <a:off x="844750" y="4938844"/>
            <a:ext cx="158620" cy="222956"/>
          </a:xfrm>
          <a:prstGeom prst="rect">
            <a:avLst/>
          </a:prstGeom>
          <a:solidFill>
            <a:srgbClr val="006F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1F31CCD-F890-447A-9CAD-5CC502170E1A}"/>
              </a:ext>
            </a:extLst>
          </p:cNvPr>
          <p:cNvSpPr/>
          <p:nvPr userDrawn="1"/>
        </p:nvSpPr>
        <p:spPr>
          <a:xfrm>
            <a:off x="1393831" y="4951440"/>
            <a:ext cx="158620" cy="222956"/>
          </a:xfrm>
          <a:prstGeom prst="rect">
            <a:avLst/>
          </a:prstGeom>
          <a:solidFill>
            <a:srgbClr val="750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515EF54-6962-4147-A6E8-DD2B1E6DB412}"/>
              </a:ext>
            </a:extLst>
          </p:cNvPr>
          <p:cNvSpPr txBox="1"/>
          <p:nvPr userDrawn="1"/>
        </p:nvSpPr>
        <p:spPr>
          <a:xfrm>
            <a:off x="264555" y="4602401"/>
            <a:ext cx="2349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dditional color sele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8B1EFD2-16AB-44D7-A868-706CF677CC4E}"/>
              </a:ext>
            </a:extLst>
          </p:cNvPr>
          <p:cNvSpPr/>
          <p:nvPr userDrawn="1"/>
        </p:nvSpPr>
        <p:spPr>
          <a:xfrm>
            <a:off x="1119291" y="4951440"/>
            <a:ext cx="158620" cy="222956"/>
          </a:xfrm>
          <a:prstGeom prst="rect">
            <a:avLst/>
          </a:prstGeom>
          <a:solidFill>
            <a:srgbClr val="00A8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5F6A835-9DB5-4796-BB99-C592DD9E1F9F}"/>
              </a:ext>
            </a:extLst>
          </p:cNvPr>
          <p:cNvSpPr/>
          <p:nvPr userDrawn="1"/>
        </p:nvSpPr>
        <p:spPr>
          <a:xfrm>
            <a:off x="570210" y="4930440"/>
            <a:ext cx="158620" cy="222956"/>
          </a:xfrm>
          <a:prstGeom prst="rect">
            <a:avLst/>
          </a:prstGeom>
          <a:solidFill>
            <a:srgbClr val="FF45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EA2D2EB-13B1-4028-AC06-B66CBA66A76B}"/>
              </a:ext>
            </a:extLst>
          </p:cNvPr>
          <p:cNvSpPr/>
          <p:nvPr userDrawn="1"/>
        </p:nvSpPr>
        <p:spPr>
          <a:xfrm>
            <a:off x="1639350" y="4951440"/>
            <a:ext cx="158620" cy="222956"/>
          </a:xfrm>
          <a:prstGeom prst="rect">
            <a:avLst/>
          </a:prstGeom>
          <a:solidFill>
            <a:srgbClr val="004D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52F6261-B011-4584-B2D0-D5D35E673AD0}"/>
              </a:ext>
            </a:extLst>
          </p:cNvPr>
          <p:cNvSpPr txBox="1"/>
          <p:nvPr userDrawn="1"/>
        </p:nvSpPr>
        <p:spPr>
          <a:xfrm>
            <a:off x="4911751" y="1321776"/>
            <a:ext cx="426104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b="1" u="sng">
                <a:latin typeface="Arial" panose="020B0604020202020204" pitchFamily="34" charset="0"/>
                <a:cs typeface="Arial" panose="020B0604020202020204" pitchFamily="34" charset="0"/>
              </a:rPr>
              <a:t>2022 Electrifying the Future 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color them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Select View/Slide Master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Select Theme Color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Under </a:t>
            </a:r>
            <a:r>
              <a:rPr lang="en-US" sz="1600" u="sng">
                <a:latin typeface="Arial" panose="020B0604020202020204" pitchFamily="34" charset="0"/>
                <a:cs typeface="Arial" panose="020B0604020202020204" pitchFamily="34" charset="0"/>
              </a:rPr>
              <a:t>Custom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select 2022 them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15E4230-DA07-43A5-B327-DCC0FA46F099}"/>
              </a:ext>
            </a:extLst>
          </p:cNvPr>
          <p:cNvSpPr txBox="1"/>
          <p:nvPr userDrawn="1"/>
        </p:nvSpPr>
        <p:spPr>
          <a:xfrm>
            <a:off x="294590" y="2733810"/>
            <a:ext cx="21745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Main color selec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AE48A92-74AE-4DC9-9674-B700DC5BA983}"/>
              </a:ext>
            </a:extLst>
          </p:cNvPr>
          <p:cNvSpPr txBox="1"/>
          <p:nvPr userDrawn="1"/>
        </p:nvSpPr>
        <p:spPr>
          <a:xfrm>
            <a:off x="3196248" y="2764923"/>
            <a:ext cx="14071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te for dark background</a:t>
            </a:r>
            <a:endParaRPr lang="en-US" sz="1200" b="1" i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6DF2025-16B1-4CBD-9B88-2EFC9132F245}"/>
              </a:ext>
            </a:extLst>
          </p:cNvPr>
          <p:cNvSpPr/>
          <p:nvPr userDrawn="1"/>
        </p:nvSpPr>
        <p:spPr>
          <a:xfrm>
            <a:off x="264556" y="3380644"/>
            <a:ext cx="282416" cy="245798"/>
          </a:xfrm>
          <a:prstGeom prst="rect">
            <a:avLst/>
          </a:prstGeom>
          <a:solidFill>
            <a:srgbClr val="C146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3D22604-93BB-4B3B-A1D3-1797F1EF46EE}"/>
              </a:ext>
            </a:extLst>
          </p:cNvPr>
          <p:cNvSpPr/>
          <p:nvPr userDrawn="1"/>
        </p:nvSpPr>
        <p:spPr>
          <a:xfrm>
            <a:off x="772263" y="3380644"/>
            <a:ext cx="282416" cy="245798"/>
          </a:xfrm>
          <a:prstGeom prst="rect">
            <a:avLst/>
          </a:prstGeom>
          <a:solidFill>
            <a:srgbClr val="FF67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B9A3566-3339-47CB-AC83-7210A147E4E2}"/>
              </a:ext>
            </a:extLst>
          </p:cNvPr>
          <p:cNvSpPr/>
          <p:nvPr userDrawn="1"/>
        </p:nvSpPr>
        <p:spPr>
          <a:xfrm>
            <a:off x="1228900" y="3380644"/>
            <a:ext cx="282416" cy="245798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620BC68-F19C-4CA3-9362-4C23F6F17EB4}"/>
              </a:ext>
            </a:extLst>
          </p:cNvPr>
          <p:cNvSpPr/>
          <p:nvPr userDrawn="1"/>
        </p:nvSpPr>
        <p:spPr>
          <a:xfrm>
            <a:off x="1700131" y="3380644"/>
            <a:ext cx="282416" cy="245798"/>
          </a:xfrm>
          <a:prstGeom prst="rect">
            <a:avLst/>
          </a:prstGeom>
          <a:solidFill>
            <a:srgbClr val="F8CF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78F39C0-859E-4629-AA42-567829112258}"/>
              </a:ext>
            </a:extLst>
          </p:cNvPr>
          <p:cNvSpPr/>
          <p:nvPr userDrawn="1"/>
        </p:nvSpPr>
        <p:spPr>
          <a:xfrm>
            <a:off x="2178656" y="3380644"/>
            <a:ext cx="282416" cy="245798"/>
          </a:xfrm>
          <a:prstGeom prst="rect">
            <a:avLst/>
          </a:prstGeom>
          <a:solidFill>
            <a:srgbClr val="4C70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95D5E78-F72C-4BDD-A3A9-3E7813D191A2}"/>
              </a:ext>
            </a:extLst>
          </p:cNvPr>
          <p:cNvSpPr/>
          <p:nvPr userDrawn="1"/>
        </p:nvSpPr>
        <p:spPr>
          <a:xfrm>
            <a:off x="3932250" y="3380644"/>
            <a:ext cx="282416" cy="2457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7628E13-A876-461E-BFD7-30D3AE5D6F82}"/>
              </a:ext>
            </a:extLst>
          </p:cNvPr>
          <p:cNvSpPr/>
          <p:nvPr userDrawn="1"/>
        </p:nvSpPr>
        <p:spPr>
          <a:xfrm>
            <a:off x="2603778" y="3380644"/>
            <a:ext cx="282416" cy="24579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69665F1-D8A9-476E-8F35-A25F1163EAA5}"/>
              </a:ext>
            </a:extLst>
          </p:cNvPr>
          <p:cNvSpPr/>
          <p:nvPr userDrawn="1"/>
        </p:nvSpPr>
        <p:spPr>
          <a:xfrm>
            <a:off x="3490203" y="3380644"/>
            <a:ext cx="282416" cy="245798"/>
          </a:xfrm>
          <a:prstGeom prst="rect">
            <a:avLst/>
          </a:prstGeom>
          <a:solidFill>
            <a:srgbClr val="447C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72879B0A-F99E-40E5-B700-799F77DD682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061443194"/>
              </p:ext>
            </p:extLst>
          </p:nvPr>
        </p:nvGraphicFramePr>
        <p:xfrm>
          <a:off x="4746254" y="3044858"/>
          <a:ext cx="4330099" cy="3487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4C018436-5F86-4927-B055-EACE768BAB44}"/>
              </a:ext>
            </a:extLst>
          </p:cNvPr>
          <p:cNvSpPr/>
          <p:nvPr userDrawn="1"/>
        </p:nvSpPr>
        <p:spPr>
          <a:xfrm>
            <a:off x="3073769" y="3380644"/>
            <a:ext cx="282416" cy="245798"/>
          </a:xfrm>
          <a:prstGeom prst="rect">
            <a:avLst/>
          </a:prstGeom>
          <a:solidFill>
            <a:srgbClr val="8F1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DE492359-65CB-4881-A29A-BAA4AE3DD16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237991438"/>
              </p:ext>
            </p:extLst>
          </p:nvPr>
        </p:nvGraphicFramePr>
        <p:xfrm>
          <a:off x="2397524" y="4566595"/>
          <a:ext cx="2665334" cy="2128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6153A013-3B3B-4571-88FE-8D757407CC69}"/>
              </a:ext>
            </a:extLst>
          </p:cNvPr>
          <p:cNvSpPr txBox="1"/>
          <p:nvPr userDrawn="1"/>
        </p:nvSpPr>
        <p:spPr>
          <a:xfrm>
            <a:off x="67648" y="3737841"/>
            <a:ext cx="70461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C14628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AF54769-E8ED-4900-8C03-EE2395944D08}"/>
              </a:ext>
            </a:extLst>
          </p:cNvPr>
          <p:cNvSpPr txBox="1"/>
          <p:nvPr userDrawn="1"/>
        </p:nvSpPr>
        <p:spPr>
          <a:xfrm>
            <a:off x="555676" y="3735617"/>
            <a:ext cx="70461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FF671C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FB8D7ED-2BFD-4101-96F8-454008C72B47}"/>
              </a:ext>
            </a:extLst>
          </p:cNvPr>
          <p:cNvSpPr txBox="1"/>
          <p:nvPr userDrawn="1"/>
        </p:nvSpPr>
        <p:spPr>
          <a:xfrm>
            <a:off x="967664" y="3724554"/>
            <a:ext cx="70461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F8991C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495BDE8-4489-4FD6-B837-02AC7ADB5639}"/>
              </a:ext>
            </a:extLst>
          </p:cNvPr>
          <p:cNvSpPr txBox="1"/>
          <p:nvPr userDrawn="1"/>
        </p:nvSpPr>
        <p:spPr>
          <a:xfrm>
            <a:off x="1461103" y="3722330"/>
            <a:ext cx="6716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F8CF91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92230F1-F0E1-4B19-ADDC-337E92B1209B}"/>
              </a:ext>
            </a:extLst>
          </p:cNvPr>
          <p:cNvSpPr txBox="1"/>
          <p:nvPr userDrawn="1"/>
        </p:nvSpPr>
        <p:spPr>
          <a:xfrm>
            <a:off x="1898797" y="3724446"/>
            <a:ext cx="70461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4C7093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B4A7CD7-FD5B-430D-8C6C-306E62A28793}"/>
              </a:ext>
            </a:extLst>
          </p:cNvPr>
          <p:cNvSpPr txBox="1"/>
          <p:nvPr userDrawn="1"/>
        </p:nvSpPr>
        <p:spPr>
          <a:xfrm>
            <a:off x="2386825" y="3722222"/>
            <a:ext cx="70461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000000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FD0965D-2713-4818-A5C9-FFF806699494}"/>
              </a:ext>
            </a:extLst>
          </p:cNvPr>
          <p:cNvSpPr txBox="1"/>
          <p:nvPr userDrawn="1"/>
        </p:nvSpPr>
        <p:spPr>
          <a:xfrm>
            <a:off x="2842590" y="3711159"/>
            <a:ext cx="70461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8F133C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C28D25B-484C-4B25-B588-55AABCF83077}"/>
              </a:ext>
            </a:extLst>
          </p:cNvPr>
          <p:cNvSpPr txBox="1"/>
          <p:nvPr userDrawn="1"/>
        </p:nvSpPr>
        <p:spPr>
          <a:xfrm>
            <a:off x="3292252" y="3708935"/>
            <a:ext cx="6716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447C55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F8E214B-511E-49F4-ABBE-332FB17ED4A1}"/>
              </a:ext>
            </a:extLst>
          </p:cNvPr>
          <p:cNvSpPr txBox="1"/>
          <p:nvPr userDrawn="1"/>
        </p:nvSpPr>
        <p:spPr>
          <a:xfrm>
            <a:off x="3920192" y="3692902"/>
            <a:ext cx="7509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/>
              <a:t>#FFFFFF</a:t>
            </a:r>
          </a:p>
        </p:txBody>
      </p:sp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7E7C6E9E-C683-4D25-B12E-FB96AC6529AD}"/>
              </a:ext>
            </a:extLst>
          </p:cNvPr>
          <p:cNvSpPr txBox="1">
            <a:spLocks/>
          </p:cNvSpPr>
          <p:nvPr userDrawn="1"/>
        </p:nvSpPr>
        <p:spPr>
          <a:xfrm>
            <a:off x="31179" y="1333059"/>
            <a:ext cx="5271808" cy="1200321"/>
          </a:xfrm>
          <a:prstGeom prst="rect">
            <a:avLst/>
          </a:prstGeom>
        </p:spPr>
        <p:txBody>
          <a:bodyPr/>
          <a:lstStyle>
            <a:lvl1pPr marL="231775" indent="-2317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DF572A"/>
              </a:buClr>
              <a:buSzPct val="105000"/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‒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i="1"/>
              <a:t>For</a:t>
            </a:r>
            <a:r>
              <a:rPr lang="en-US" sz="1600" i="1"/>
              <a:t> additional slide layouts see ribbon:</a:t>
            </a:r>
            <a:br>
              <a:rPr lang="en-US" sz="1600" i="1"/>
            </a:br>
            <a:r>
              <a:rPr lang="en-US" sz="1600" i="1" u="sng">
                <a:solidFill>
                  <a:srgbClr val="C14628"/>
                </a:solidFill>
              </a:rPr>
              <a:t>Inser</a:t>
            </a:r>
            <a:r>
              <a:rPr lang="en-US" sz="1600" i="1">
                <a:solidFill>
                  <a:srgbClr val="C14628"/>
                </a:solidFill>
              </a:rPr>
              <a:t>t&gt; New Slide&gt; Select </a:t>
            </a:r>
            <a:r>
              <a:rPr lang="en-US" sz="1600" b="1" i="1">
                <a:solidFill>
                  <a:srgbClr val="C14628"/>
                </a:solidFill>
              </a:rPr>
              <a:t>Office Theme </a:t>
            </a:r>
            <a:r>
              <a:rPr lang="en-US" sz="1600" i="1">
                <a:solidFill>
                  <a:srgbClr val="C14628"/>
                </a:solidFill>
              </a:rPr>
              <a:t>formats.</a:t>
            </a:r>
            <a:br>
              <a:rPr lang="en-US" sz="1600" i="1">
                <a:solidFill>
                  <a:srgbClr val="C14628"/>
                </a:solidFill>
              </a:rPr>
            </a:br>
            <a:r>
              <a:rPr lang="en-US" sz="1600" i="0">
                <a:solidFill>
                  <a:schemeClr val="tx1"/>
                </a:solidFill>
              </a:rPr>
              <a:t>Over 10 slide options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2D93A0D7-6F84-4476-BF41-60CE48971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45499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_bullet_right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763481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FD113D-43B7-D641-8134-9CB10485662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9144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BA8965-8D92-47B8-BE22-6129AE55D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114" y="1519519"/>
            <a:ext cx="6721943" cy="44644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1963" indent="-236538">
              <a:buClr>
                <a:srgbClr val="DF572A"/>
              </a:buClr>
              <a:buFont typeface="Arial" panose="020B0604020202020204" pitchFamily="34" charset="0"/>
              <a:buChar char="‒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8975" indent="-227013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5425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39825" indent="-225425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E3574ED2-7219-404C-99AB-B30F3A53E113}"/>
              </a:ext>
            </a:extLst>
          </p:cNvPr>
          <p:cNvSpPr txBox="1">
            <a:spLocks/>
          </p:cNvSpPr>
          <p:nvPr userDrawn="1"/>
        </p:nvSpPr>
        <p:spPr>
          <a:xfrm>
            <a:off x="8695135" y="6499226"/>
            <a:ext cx="448865" cy="3587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EB69C0-7537-C24C-BC67-8B5F238D9475}" type="slidenum">
              <a:rPr lang="en-US" sz="1000" smtClean="0">
                <a:solidFill>
                  <a:schemeClr val="bg1"/>
                </a:solidFill>
              </a:rPr>
              <a:pPr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69526DF-BAB6-419A-876A-FD8126ABC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57653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0DF61BF-553F-49FC-BF5B-6481694E5B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070876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0DF61BF-553F-49FC-BF5B-6481694E5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FD113D-43B7-D641-8134-9CB10485662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9144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BA8965-8D92-47B8-BE22-6129AE55D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113" y="1530037"/>
            <a:ext cx="8385118" cy="42306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1963" indent="-236538">
              <a:buClr>
                <a:srgbClr val="DF572A"/>
              </a:buClr>
              <a:buFont typeface="Arial" panose="020B0604020202020204" pitchFamily="34" charset="0"/>
              <a:buChar char="‒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8975" indent="-227013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5425">
              <a:buClr>
                <a:srgbClr val="DF572A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39825" indent="-225425">
              <a:buClr>
                <a:srgbClr val="DF572A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4609637-5F56-4F9B-9D8F-8588C969BC52}"/>
              </a:ext>
            </a:extLst>
          </p:cNvPr>
          <p:cNvSpPr txBox="1"/>
          <p:nvPr userDrawn="1"/>
        </p:nvSpPr>
        <p:spPr>
          <a:xfrm>
            <a:off x="3378574" y="6239869"/>
            <a:ext cx="4418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i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use Pie chart copy from Slide Master.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1B878FE-4ADD-4924-8ED8-0CC985FE1A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64073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4EB0B0-4B5A-4A01-B39D-054EF901C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755632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4EB0B0-4B5A-4A01-B39D-054EF901C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7917D464-160E-42F4-8ADB-B6F4B1409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1847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outdoor, scene, laser, night&#10;&#10;Description automatically generated">
            <a:extLst>
              <a:ext uri="{FF2B5EF4-FFF2-40B4-BE49-F238E27FC236}">
                <a16:creationId xmlns:a16="http://schemas.microsoft.com/office/drawing/2014/main" id="{EBE7C8D8-4E87-41BE-BA26-F8897DD42A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2500" t="16428" r="12500" b="43098"/>
          <a:stretch/>
        </p:blipFill>
        <p:spPr>
          <a:xfrm>
            <a:off x="0" y="1122829"/>
            <a:ext cx="9144000" cy="461234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D03625-F347-49F3-A1CB-86207CFF9B5D}"/>
              </a:ext>
            </a:extLst>
          </p:cNvPr>
          <p:cNvSpPr/>
          <p:nvPr userDrawn="1"/>
        </p:nvSpPr>
        <p:spPr>
          <a:xfrm>
            <a:off x="0" y="1757862"/>
            <a:ext cx="9144000" cy="397730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78148"/>
                </a:schemeClr>
              </a:gs>
              <a:gs pos="33000">
                <a:srgbClr val="552620">
                  <a:alpha val="59016"/>
                </a:srgbClr>
              </a:gs>
              <a:gs pos="59000">
                <a:srgbClr val="BB5D00">
                  <a:alpha val="45711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FEFE62-6F9D-41D0-9C17-AAA34EDAAE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019142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6FEFE62-6F9D-41D0-9C17-AAA34EDAAE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872925A-36CF-4822-B8B6-8516BC564653}"/>
              </a:ext>
            </a:extLst>
          </p:cNvPr>
          <p:cNvSpPr/>
          <p:nvPr userDrawn="1"/>
        </p:nvSpPr>
        <p:spPr>
          <a:xfrm>
            <a:off x="0" y="-68580"/>
            <a:ext cx="9144000" cy="11914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296852"/>
            <a:ext cx="7186808" cy="141826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6AEC3D-15C1-EF4E-BA0B-4BCF9CA6B8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2799506"/>
            <a:ext cx="7186808" cy="1519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AE88ECE-2157-4F99-AEB7-CD3A31B58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03C108B-FFB4-4DD7-95C1-A9FCAEB5426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1814" y="4788061"/>
            <a:ext cx="1955179" cy="55949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A454444-7FE2-4AC0-82CB-560AB8C7DBB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74767" y="404535"/>
            <a:ext cx="3165507" cy="194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592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8.xml"/><Relationship Id="rId7" Type="http://schemas.openxmlformats.org/officeDocument/2006/relationships/image" Target="../media/image3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20.xml"/><Relationship Id="rId12" Type="http://schemas.openxmlformats.org/officeDocument/2006/relationships/image" Target="../media/image15.jpe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3.xml"/><Relationship Id="rId11" Type="http://schemas.openxmlformats.org/officeDocument/2006/relationships/image" Target="../media/image14.png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0.xml"/><Relationship Id="rId9" Type="http://schemas.openxmlformats.org/officeDocument/2006/relationships/oleObject" Target="../embeddings/oleObject1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3C3C15-431A-4959-8649-43AA52F84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4406680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92" imgH="595" progId="TCLayout.ActiveDocument.1">
                  <p:embed/>
                </p:oleObj>
              </mc:Choice>
              <mc:Fallback>
                <p:oleObj name="think-cell Slide" r:id="rId18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3C3C15-431A-4959-8649-43AA52F8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782C2B-A5A0-C04D-9DA5-74DC61FF2D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7088" y="649399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D-DIN" panose="020B0504030202030204" pitchFamily="34" charset="77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023D4F-DAE9-EC46-99AC-2115C96A9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493999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D-DIN" panose="020B0504030202030204" pitchFamily="34" charset="77"/>
              </a:defRPr>
            </a:lvl1pPr>
          </a:lstStyle>
          <a:p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0C6049B-E1EB-4A95-A30D-EB673A7817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4AD2E87-F416-4650-863C-8B826391AD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01A8757-5FEC-47BA-A12B-15160D7A32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088" y="1514479"/>
            <a:ext cx="7886700" cy="46624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4D3B83E-ED31-4032-BBFE-64B0F0068BFE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9144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E71B92E-809A-492B-B1AF-E7CDC387BC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/>
          <a:srcRect t="37332" b="60808"/>
          <a:stretch/>
        </p:blipFill>
        <p:spPr>
          <a:xfrm>
            <a:off x="0" y="0"/>
            <a:ext cx="9144000" cy="29440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E88E63C-2A9D-46D7-B8AA-F6F4B6B3EE01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3280" y="74724"/>
            <a:ext cx="2377440" cy="14801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C534B7A-A3CC-48AE-87BB-7D01FA2FF38D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rcRect/>
          <a:stretch/>
        </p:blipFill>
        <p:spPr>
          <a:xfrm>
            <a:off x="7925520" y="532153"/>
            <a:ext cx="1136851" cy="318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762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4" r:id="rId2"/>
    <p:sldLayoutId id="2147483706" r:id="rId3"/>
    <p:sldLayoutId id="2147483707" r:id="rId4"/>
    <p:sldLayoutId id="2147483741" r:id="rId5"/>
    <p:sldLayoutId id="2147483733" r:id="rId6"/>
    <p:sldLayoutId id="2147483708" r:id="rId7"/>
    <p:sldLayoutId id="2147483709" r:id="rId8"/>
    <p:sldLayoutId id="2147483712" r:id="rId9"/>
    <p:sldLayoutId id="2147483719" r:id="rId10"/>
    <p:sldLayoutId id="2147483725" r:id="rId11"/>
    <p:sldLayoutId id="2147483726" r:id="rId12"/>
    <p:sldLayoutId id="2147483727" r:id="rId13"/>
    <p:sldLayoutId id="2147483731" r:id="rId14"/>
    <p:sldLayoutId id="2147483732" r:id="rId15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90000"/>
        </a:lnSpc>
        <a:spcBef>
          <a:spcPts val="1000"/>
        </a:spcBef>
        <a:buClr>
          <a:srgbClr val="DF572A"/>
        </a:buClr>
        <a:buSzPct val="105000"/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‒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Courier New" panose="02070309020205020404" pitchFamily="49" charset="0"/>
        <a:buChar char="o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3C3C15-431A-4959-8649-43AA52F84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3C3C15-431A-4959-8649-43AA52F8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782C2B-A5A0-C04D-9DA5-74DC61FF2D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7088" y="649400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D-DIN" panose="020B0504030202030204" pitchFamily="34" charset="77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023D4F-DAE9-EC46-99AC-2115C96A9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49400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D-DIN" panose="020B0504030202030204" pitchFamily="34" charset="77"/>
              </a:defRPr>
            </a:lvl1pPr>
          </a:lstStyle>
          <a:p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0C6049B-E1EB-4A95-A30D-EB673A7817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95186" y="6498638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75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4AD2E87-F416-4650-863C-8B826391AD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9" y="365128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01A8757-5FEC-47BA-A12B-15160D7A32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088" y="1514479"/>
            <a:ext cx="7886700" cy="46624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4D3B83E-ED31-4032-BBFE-64B0F0068BFE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9144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E71B92E-809A-492B-B1AF-E7CDC387BC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37332" b="60808"/>
          <a:stretch/>
        </p:blipFill>
        <p:spPr>
          <a:xfrm>
            <a:off x="0" y="0"/>
            <a:ext cx="9144000" cy="29440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E88E63C-2A9D-46D7-B8AA-F6F4B6B3EE0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3280" y="74726"/>
            <a:ext cx="2377440" cy="14801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C534B7A-A3CC-48AE-87BB-7D01FA2FF38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rcRect/>
          <a:stretch/>
        </p:blipFill>
        <p:spPr>
          <a:xfrm>
            <a:off x="7925521" y="532155"/>
            <a:ext cx="1136851" cy="318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190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90000"/>
        </a:lnSpc>
        <a:spcBef>
          <a:spcPts val="1000"/>
        </a:spcBef>
        <a:buClr>
          <a:srgbClr val="DF572A"/>
        </a:buClr>
        <a:buSzPct val="105000"/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‒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Courier New" panose="02070309020205020404" pitchFamily="49" charset="0"/>
        <a:buChar char="o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5" descr="A close-up of a metal surface&#10;&#10;Description automatically generated">
            <a:extLst>
              <a:ext uri="{FF2B5EF4-FFF2-40B4-BE49-F238E27FC236}">
                <a16:creationId xmlns:a16="http://schemas.microsoft.com/office/drawing/2014/main" id="{7CB497B2-CC29-19A5-BACB-5774FC90E43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/>
          <a:srcRect l="12154" t="33636" r="43427" b="58009"/>
          <a:stretch/>
        </p:blipFill>
        <p:spPr bwMode="auto">
          <a:xfrm>
            <a:off x="2382" y="0"/>
            <a:ext cx="9144794" cy="1165225"/>
          </a:xfrm>
          <a:prstGeom prst="rect">
            <a:avLst/>
          </a:prstGeom>
          <a:solidFill>
            <a:srgbClr val="70594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3C3C15-431A-4959-8649-43AA52F84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5" progId="TCLayout.ActiveDocument.1">
                  <p:embed/>
                </p:oleObj>
              </mc:Choice>
              <mc:Fallback>
                <p:oleObj name="think-cell Slide" r:id="rId9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3C3C15-431A-4959-8649-43AA52F8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782C2B-A5A0-C04D-9DA5-74DC61FF2D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7088" y="649399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D-DIN" panose="020B0504030202030204" pitchFamily="34" charset="77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023D4F-DAE9-EC46-99AC-2115C96A9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493999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D-DIN" panose="020B0504030202030204" pitchFamily="34" charset="77"/>
              </a:defRPr>
            </a:lvl1pPr>
          </a:lstStyle>
          <a:p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0C6049B-E1EB-4A95-A30D-EB673A7817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19752" y="6577563"/>
            <a:ext cx="824248" cy="280436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01A8757-5FEC-47BA-A12B-15160D7A32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9365" y="1514479"/>
            <a:ext cx="8436645" cy="46624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marL="571500" lvl="1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‒"/>
            </a:pPr>
            <a:r>
              <a:rPr lang="en-US"/>
              <a:t>Second level</a:t>
            </a:r>
          </a:p>
          <a:p>
            <a:pPr marL="688975" lvl="2" indent="-2270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SzPct val="85000"/>
              <a:buFont typeface="Courier New" panose="02070309020205020404" pitchFamily="49" charset="0"/>
              <a:buChar char="o"/>
            </a:pPr>
            <a:r>
              <a:rPr lang="en-US"/>
              <a:t>Third level</a:t>
            </a:r>
          </a:p>
          <a:p>
            <a:pPr marL="914400" lvl="3" indent="-2254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B5D00"/>
              </a:buClr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3D2FCCF6-CEBC-2223-ED70-93061B1A75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1245" y="430219"/>
            <a:ext cx="1497013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 descr="A white surface with a brown surface&#10;&#10;Description automatically generated with medium confidence">
            <a:extLst>
              <a:ext uri="{FF2B5EF4-FFF2-40B4-BE49-F238E27FC236}">
                <a16:creationId xmlns:a16="http://schemas.microsoft.com/office/drawing/2014/main" id="{95C120FD-C9E8-90AB-E350-560BAD6FA9E2}"/>
              </a:ext>
            </a:extLst>
          </p:cNvPr>
          <p:cNvPicPr preferRelativeResize="0">
            <a:picLocks/>
          </p:cNvPicPr>
          <p:nvPr userDrawn="1"/>
        </p:nvPicPr>
        <p:blipFill rotWithShape="1">
          <a:blip r:embed="rId12"/>
          <a:srcRect t="76875"/>
          <a:stretch/>
        </p:blipFill>
        <p:spPr>
          <a:xfrm>
            <a:off x="0" y="1135067"/>
            <a:ext cx="9147176" cy="52391"/>
          </a:xfrm>
          <a:prstGeom prst="rect">
            <a:avLst/>
          </a:prstGeom>
          <a:effectLst>
            <a:outerShdw blurRad="50800" dist="38100" dir="2700000" algn="tl" rotWithShape="0">
              <a:srgbClr val="F69163">
                <a:alpha val="44000"/>
              </a:srgbClr>
            </a:outerShdw>
          </a:effectLst>
        </p:spPr>
      </p:pic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4AD2E87-F416-4650-863C-8B826391AD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365" y="365126"/>
            <a:ext cx="6333809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B0F4D90-F3E1-A599-9629-AEAD25C7C4E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4461" y="58738"/>
            <a:ext cx="3270250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0762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4" r:id="rId2"/>
    <p:sldLayoutId id="2147483775" r:id="rId3"/>
    <p:sldLayoutId id="2147483774" r:id="rId4"/>
    <p:sldLayoutId id="2147483776" r:id="rId5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i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90000"/>
        </a:lnSpc>
        <a:spcBef>
          <a:spcPts val="1000"/>
        </a:spcBef>
        <a:buClr>
          <a:srgbClr val="BB5D00"/>
        </a:buClr>
        <a:buSzPct val="110000"/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2865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‒"/>
        <a:defRPr lang="en-US" sz="1800" b="0" i="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4862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Courier New" panose="02070309020205020404" pitchFamily="49" charset="0"/>
        <a:buChar char="o"/>
        <a:defRPr lang="en-US" sz="1600" b="0" i="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01688" indent="-112713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•"/>
        <a:defRPr lang="en-US" sz="1400" b="0" i="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–"/>
        <a:tabLst>
          <a:tab pos="1027113" algn="l"/>
        </a:tabLst>
        <a:defRPr sz="12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8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9.png"/><Relationship Id="rId5" Type="http://schemas.openxmlformats.org/officeDocument/2006/relationships/image" Target="../media/image58.jpeg"/><Relationship Id="rId4" Type="http://schemas.openxmlformats.org/officeDocument/2006/relationships/image" Target="../media/image57.jpe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9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6DB36-DC34-4F3B-8B50-AF2DAB5E98F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486421" y="2176238"/>
            <a:ext cx="4368800" cy="2168525"/>
          </a:xfrm>
        </p:spPr>
        <p:txBody>
          <a:bodyPr>
            <a:normAutofit/>
          </a:bodyPr>
          <a:lstStyle/>
          <a:p>
            <a:r>
              <a:rPr lang="en-US"/>
              <a:t>Morenci Environmental Services</a:t>
            </a:r>
            <a:br>
              <a:rPr lang="en-US"/>
            </a:b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030D5C-4C1B-44EF-A602-2D302C14785D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86421" y="3977193"/>
            <a:ext cx="3908425" cy="1519237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b="1">
                <a:latin typeface="Arial"/>
                <a:cs typeface="Arial"/>
              </a:rPr>
              <a:t>Environmental Awareness Training </a:t>
            </a:r>
            <a:endParaRPr lang="en-US" b="1"/>
          </a:p>
          <a:p>
            <a:pPr marL="0" indent="0">
              <a:buNone/>
            </a:pPr>
            <a:r>
              <a:rPr lang="en-US" b="1">
                <a:latin typeface="Arial"/>
                <a:cs typeface="Arial"/>
              </a:rPr>
              <a:t>2024</a:t>
            </a:r>
            <a:endParaRPr lang="en-US" b="1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3757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licy Key Poi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FA1FD3-B8C2-4D3F-AACF-930730839E1B}"/>
              </a:ext>
            </a:extLst>
          </p:cNvPr>
          <p:cNvSpPr txBox="1"/>
          <p:nvPr/>
        </p:nvSpPr>
        <p:spPr>
          <a:xfrm>
            <a:off x="509588" y="1735166"/>
            <a:ext cx="4581524" cy="31885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F572A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sz="2400">
                <a:solidFill>
                  <a:srgbClr val="000000"/>
                </a:solidFill>
                <a:latin typeface="Arial"/>
                <a:cs typeface="Arial"/>
              </a:rPr>
              <a:t>Climate</a:t>
            </a:r>
            <a:endParaRPr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R="0" lvl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F572A"/>
              </a:buClr>
              <a:buSzPct val="105000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F572A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sz="2400">
                <a:solidFill>
                  <a:srgbClr val="000000"/>
                </a:solidFill>
                <a:latin typeface="Arial"/>
                <a:cs typeface="Arial"/>
              </a:rPr>
              <a:t>Biodiversity</a:t>
            </a:r>
            <a:endParaRPr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F572A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indent="-342900" fontAlgn="base">
              <a:lnSpc>
                <a:spcPct val="90000"/>
              </a:lnSpc>
              <a:spcBef>
                <a:spcPts val="1000"/>
              </a:spcBef>
              <a:buClr>
                <a:srgbClr val="DF572A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sz="2400">
                <a:solidFill>
                  <a:srgbClr val="000000"/>
                </a:solidFill>
                <a:latin typeface="Arial"/>
                <a:cs typeface="Arial"/>
              </a:rPr>
              <a:t>Indigenous Peoples</a:t>
            </a: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Clr>
                <a:srgbClr val="DF572A"/>
              </a:buClr>
              <a:buSzPct val="105000"/>
              <a:buFont typeface="Arial" panose="020B0604020202020204" pitchFamily="34" charset="0"/>
              <a:buChar char="•"/>
              <a:defRPr/>
            </a:pPr>
            <a:endParaRPr lang="en-US" sz="2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90000"/>
              </a:lnSpc>
              <a:spcBef>
                <a:spcPts val="1000"/>
              </a:spcBef>
              <a:buClr>
                <a:srgbClr val="DF572A"/>
              </a:buClr>
              <a:buSzPct val="105000"/>
              <a:buFont typeface="Arial" panose="020B0604020202020204" pitchFamily="34" charset="0"/>
              <a:buChar char="•"/>
              <a:defRPr/>
            </a:pPr>
            <a:r>
              <a:rPr lang="en-US" sz="2400">
                <a:solidFill>
                  <a:srgbClr val="000000"/>
                </a:solidFill>
                <a:latin typeface="Arial"/>
                <a:cs typeface="Arial"/>
              </a:rPr>
              <a:t>Environmental Justice</a:t>
            </a:r>
            <a:endParaRPr lang="en-US" sz="24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4" descr="Text&#10;&#10;Description automatically generated">
            <a:extLst>
              <a:ext uri="{FF2B5EF4-FFF2-40B4-BE49-F238E27FC236}">
                <a16:creationId xmlns:a16="http://schemas.microsoft.com/office/drawing/2014/main" id="{1C5850A6-A31C-ECFA-5455-F60D1EAB87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237" y="1356922"/>
            <a:ext cx="3858513" cy="52214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411500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BD49478-AA0F-9209-BA6F-901221869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98971" y="6577563"/>
            <a:ext cx="1045029" cy="28043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5EB69C0-7537-C24C-BC67-8B5F238D9475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D7F329E-61AB-CE20-F9BE-FC1B0B8F1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365" y="365126"/>
            <a:ext cx="6499180" cy="675389"/>
          </a:xfrm>
        </p:spPr>
        <p:txBody>
          <a:bodyPr anchor="ctr">
            <a:normAutofit/>
          </a:bodyPr>
          <a:lstStyle/>
          <a:p>
            <a:r>
              <a:rPr lang="en-US"/>
              <a:t>2024 Environmental Objectives</a:t>
            </a:r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8B67F7FC-1529-0FDD-1744-DB932FEB573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79835626"/>
              </p:ext>
            </p:extLst>
          </p:nvPr>
        </p:nvGraphicFramePr>
        <p:xfrm>
          <a:off x="339725" y="1519238"/>
          <a:ext cx="8434388" cy="4464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504084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fontAlgn="base"/>
            <a:r>
              <a:rPr lang="en-US" sz="2400">
                <a:latin typeface="Arial"/>
                <a:cs typeface="Arial"/>
              </a:rPr>
              <a:t>All chemicals </a:t>
            </a:r>
            <a:r>
              <a:rPr lang="en-US" sz="2400" b="1" u="sng">
                <a:latin typeface="Arial"/>
                <a:cs typeface="Arial"/>
              </a:rPr>
              <a:t>must</a:t>
            </a:r>
            <a:r>
              <a:rPr lang="en-US" sz="2400">
                <a:latin typeface="Arial"/>
                <a:cs typeface="Arial"/>
              </a:rPr>
              <a:t> be approved by both Health &amp; Safety and the Environmental Department prior to being brought on FMI property.​</a:t>
            </a:r>
          </a:p>
          <a:p>
            <a:pPr fontAlgn="base"/>
            <a:r>
              <a:rPr lang="en-US" sz="2400" err="1">
                <a:latin typeface="Arial"/>
                <a:cs typeface="Arial"/>
              </a:rPr>
              <a:t>Sphera</a:t>
            </a:r>
            <a:r>
              <a:rPr lang="en-US" sz="2400">
                <a:latin typeface="Arial"/>
                <a:cs typeface="Arial"/>
              </a:rPr>
              <a:t> database contains SDS’s for all products that have been approved for use.​</a:t>
            </a:r>
          </a:p>
          <a:p>
            <a:pPr fontAlgn="base"/>
            <a:r>
              <a:rPr lang="en-US" sz="2400">
                <a:latin typeface="Arial"/>
                <a:cs typeface="Arial"/>
              </a:rPr>
              <a:t>Contact Environmental Services for assistance with new or current product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emical Inventory and SDSs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8A4743E-1EDF-4B83-BB03-20A21E133F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219" y="4058771"/>
            <a:ext cx="3771900" cy="2799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id="{3541C65C-BDC6-43D3-A049-168166B506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4111" y="4059237"/>
            <a:ext cx="4791075" cy="2800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30466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B8CF19-6799-4716-BD1C-88856077968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b="1" i="0" kern="120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nvironmental Significant Risk (ESR)</a:t>
            </a:r>
          </a:p>
        </p:txBody>
      </p:sp>
    </p:spTree>
    <p:extLst>
      <p:ext uri="{BB962C8B-B14F-4D97-AF65-F5344CB8AC3E}">
        <p14:creationId xmlns:p14="http://schemas.microsoft.com/office/powerpoint/2010/main" val="2303658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65635EB-13C9-EADC-E68E-879770E66C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5EB69C0-7537-C24C-BC67-8B5F238D9475}" type="slidenum">
              <a:rPr lang="en-US" smtClean="0"/>
              <a:pPr>
                <a:spcAft>
                  <a:spcPts val="600"/>
                </a:spcAft>
              </a:pPr>
              <a:t>14</a:t>
            </a:fld>
            <a:endParaRPr lang="en-US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3A3E5A4D-A1DC-7916-BF87-2D2583E7C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Environmental Significant Risks</a:t>
            </a:r>
            <a:endParaRPr lang="en-US"/>
          </a:p>
        </p:txBody>
      </p:sp>
      <p:pic>
        <p:nvPicPr>
          <p:cNvPr id="3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F145FC0-7FFE-A628-0BCC-63E9186BC0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3163" y="1251060"/>
            <a:ext cx="7111544" cy="532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1325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6DB36-DC34-4F3B-8B50-AF2DAB5E98F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5400"/>
              <a:t>AIR</a:t>
            </a:r>
          </a:p>
        </p:txBody>
      </p:sp>
    </p:spTree>
    <p:extLst>
      <p:ext uri="{BB962C8B-B14F-4D97-AF65-F5344CB8AC3E}">
        <p14:creationId xmlns:p14="http://schemas.microsoft.com/office/powerpoint/2010/main" val="10801691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 fontAlgn="base">
              <a:buNone/>
            </a:pPr>
            <a:r>
              <a:rPr lang="en-US" sz="2400">
                <a:latin typeface="Arial"/>
                <a:cs typeface="Arial"/>
              </a:rPr>
              <a:t>Air Permit: Legally-enforceable documents that outlines air quality requirements for our site. ​</a:t>
            </a:r>
          </a:p>
          <a:p>
            <a:pPr fontAlgn="base"/>
            <a:r>
              <a:rPr lang="en-US" sz="2400">
                <a:latin typeface="Arial"/>
                <a:cs typeface="Arial"/>
              </a:rPr>
              <a:t>Morenci Mine/Processing</a:t>
            </a:r>
          </a:p>
          <a:p>
            <a:pPr fontAlgn="base"/>
            <a:r>
              <a:rPr lang="en-US" sz="2400">
                <a:latin typeface="Arial"/>
                <a:cs typeface="Arial"/>
              </a:rPr>
              <a:t>Upper Eagle Creek</a:t>
            </a:r>
          </a:p>
          <a:p>
            <a:pPr fontAlgn="base"/>
            <a:r>
              <a:rPr lang="en-US" sz="2400">
                <a:latin typeface="Arial"/>
                <a:cs typeface="Arial"/>
              </a:rPr>
              <a:t>Three Open Burn (Mine, Morenci Townsite &amp; Clifton Townsite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ir Quality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F563E980-1FF9-4510-B3C6-1193D2B914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6282" y="4258235"/>
            <a:ext cx="5528107" cy="2393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45782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98971" y="6577563"/>
            <a:ext cx="1045029" cy="28043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5EB69C0-7537-C24C-BC67-8B5F238D9475}" type="slidenum">
              <a:rPr lang="en-US" smtClean="0"/>
              <a:pPr>
                <a:spcAft>
                  <a:spcPts val="600"/>
                </a:spcAft>
              </a:pPr>
              <a:t>17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9365" y="1519519"/>
            <a:ext cx="4122242" cy="4464423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 fontAlgn="base">
              <a:buNone/>
            </a:pPr>
            <a:r>
              <a:rPr lang="en-US"/>
              <a:t>Regulations include but are not limited to:​</a:t>
            </a:r>
          </a:p>
          <a:p>
            <a:pPr marL="342900" indent="-342900" fontAlgn="base"/>
            <a:r>
              <a:rPr lang="en-US"/>
              <a:t>Dust from roads, tailings, mining, blasting, and crushing</a:t>
            </a:r>
          </a:p>
          <a:p>
            <a:pPr marL="342900" indent="-342900"/>
            <a:r>
              <a:rPr lang="en-US"/>
              <a:t>Emissions from processing of ore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/>
              <a:t>Engine​s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/>
              <a:t>Gasoline dispensing​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/>
              <a:t>Accidental Chemical Release​</a:t>
            </a: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365" y="365126"/>
            <a:ext cx="6499180" cy="675389"/>
          </a:xfrm>
        </p:spPr>
        <p:txBody>
          <a:bodyPr anchor="ctr">
            <a:normAutofit/>
          </a:bodyPr>
          <a:lstStyle/>
          <a:p>
            <a:r>
              <a:rPr lang="en-US"/>
              <a:t>Air Quality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C6F17C26-8B90-4DFD-A9F2-32E6B6F7D2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61" r="5981"/>
          <a:stretch/>
        </p:blipFill>
        <p:spPr bwMode="auto">
          <a:xfrm>
            <a:off x="4652107" y="1519519"/>
            <a:ext cx="4122242" cy="446442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74718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9365" y="1266681"/>
            <a:ext cx="8434984" cy="4464423"/>
          </a:xfrm>
        </p:spPr>
        <p:txBody>
          <a:bodyPr>
            <a:normAutofit/>
          </a:bodyPr>
          <a:lstStyle/>
          <a:p>
            <a:pPr marL="0" indent="0" fontAlgn="base">
              <a:buNone/>
            </a:pPr>
            <a:r>
              <a:rPr lang="en-US" sz="2400"/>
              <a:t>Areas of Concern:​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2400"/>
              <a:t>Dust Emissions (including blasting)​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2400"/>
              <a:t>Spray Painting and Grit Blasting Activities​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2400"/>
              <a:t>Generators/Engines – Environmental Services must be notified of any new or removal of generators/engines​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2400"/>
              <a:t>Asbestos Renovation/Demolition​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2400"/>
              <a:t>Process Changes – Physical/Operational Modifications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2400"/>
              <a:t>Chemical evaporation​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ir Quality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8DAFE528-F8B5-4FC1-B5C0-0DFEE48283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622" y="4604208"/>
            <a:ext cx="2819030" cy="2253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id="{8B89D363-C484-48D3-A5E0-F712E435B8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2173" y="4604208"/>
            <a:ext cx="3284738" cy="2165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30542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746" y="1266681"/>
            <a:ext cx="8434984" cy="446442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2400">
                <a:latin typeface="Arial"/>
                <a:cs typeface="Arial"/>
              </a:rPr>
              <a:t>Refrigerant handling – documentation, certification, recovery and disposal​</a:t>
            </a:r>
          </a:p>
          <a:p>
            <a:pPr marL="342900" indent="-342900" fontAlgn="base"/>
            <a:r>
              <a:rPr lang="en-US" sz="2400">
                <a:latin typeface="Arial"/>
                <a:cs typeface="Arial"/>
              </a:rPr>
              <a:t>Ozone Protection – When ozone depleting substances such as chlorofluorocarbons (refrigerants) are released, they damage the protective ozone layer in the atmosphere ​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ir Quality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8DAFE528-F8B5-4FC1-B5C0-0DFEE48283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622" y="4604208"/>
            <a:ext cx="2819030" cy="2253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hart&#10;&#10;Description automatically generated">
            <a:extLst>
              <a:ext uri="{FF2B5EF4-FFF2-40B4-BE49-F238E27FC236}">
                <a16:creationId xmlns:a16="http://schemas.microsoft.com/office/drawing/2014/main" id="{BCCF6238-37B9-472F-A8C0-F0D3543C9B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169" y="3550857"/>
            <a:ext cx="3684493" cy="3015218"/>
          </a:xfrm>
          <a:prstGeom prst="rect">
            <a:avLst/>
          </a:prstGeom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DB2E723E-0972-42AD-A227-FF53D40469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0" t="6098" r="9238" b="12205"/>
          <a:stretch/>
        </p:blipFill>
        <p:spPr bwMode="auto">
          <a:xfrm>
            <a:off x="4340336" y="3550857"/>
            <a:ext cx="4398918" cy="2998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19486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1EECD0-724E-5F3D-4312-F794B468D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98971" y="6577563"/>
            <a:ext cx="1045029" cy="28043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5EB69C0-7537-C24C-BC67-8B5F238D9475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23ADD8A-5618-F22C-7A03-45E02C6530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365" y="365126"/>
            <a:ext cx="6499180" cy="675389"/>
          </a:xfrm>
        </p:spPr>
        <p:txBody>
          <a:bodyPr anchor="ctr">
            <a:normAutofit/>
          </a:bodyPr>
          <a:lstStyle/>
          <a:p>
            <a:r>
              <a:rPr lang="en-US"/>
              <a:t>Table of Contents</a:t>
            </a:r>
          </a:p>
        </p:txBody>
      </p:sp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791A7C3A-2AC9-DF32-C080-038D31915BC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61016077"/>
              </p:ext>
            </p:extLst>
          </p:nvPr>
        </p:nvGraphicFramePr>
        <p:xfrm>
          <a:off x="339365" y="1519519"/>
          <a:ext cx="8434984" cy="4464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190231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CF3510-5DFD-4098-95DB-E25C05475A0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247594" y="1745578"/>
            <a:ext cx="1023079" cy="499340"/>
          </a:xfrm>
        </p:spPr>
        <p:txBody>
          <a:bodyPr>
            <a:normAutofit/>
          </a:bodyPr>
          <a:lstStyle/>
          <a:p>
            <a:r>
              <a:rPr lang="en-US" sz="2100" u="sng" dirty="0"/>
              <a:t>Goo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95B7DAD-9912-4445-A58E-CC22317C7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+mn-lt"/>
                <a:cs typeface="Arial"/>
              </a:rPr>
              <a:t>Boiler Emissions  Notific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DA82B80-7D10-4FDE-8B42-47929859B9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97305" y="1926919"/>
            <a:ext cx="843685" cy="291554"/>
          </a:xfrm>
        </p:spPr>
        <p:txBody>
          <a:bodyPr>
            <a:noAutofit/>
          </a:bodyPr>
          <a:lstStyle/>
          <a:p>
            <a:r>
              <a:rPr lang="en-US" sz="2100" u="sng" dirty="0"/>
              <a:t>Bad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55153A9-0C33-4CE4-9413-6E508C6D6F0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9080" y="2586203"/>
            <a:ext cx="3201684" cy="2763441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B54507-4EAE-4F38-BECC-3BF3C50CF0DF}"/>
              </a:ext>
            </a:extLst>
          </p:cNvPr>
          <p:cNvSpPr txBox="1"/>
          <p:nvPr/>
        </p:nvSpPr>
        <p:spPr>
          <a:xfrm>
            <a:off x="3237415" y="2378615"/>
            <a:ext cx="2665772" cy="4247317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marL="257175" indent="-25717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400" dirty="0"/>
              <a:t>Boilers should have zero visible emissions!</a:t>
            </a:r>
            <a:endParaRPr lang="en-US" sz="2400">
              <a:cs typeface="Arial"/>
            </a:endParaRPr>
          </a:p>
          <a:p>
            <a:pPr marL="257175" indent="-257175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2400" dirty="0"/>
              <a:t>Visible emissions from a boiler means that it needs to be shut down and repaired!</a:t>
            </a:r>
          </a:p>
          <a:p>
            <a:pPr marL="257175" indent="-257175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800" b="1" dirty="0"/>
          </a:p>
          <a:p>
            <a:endParaRPr lang="en-US" sz="1350" dirty="0"/>
          </a:p>
        </p:txBody>
      </p:sp>
      <p:pic>
        <p:nvPicPr>
          <p:cNvPr id="16" name="Picture 15" descr="A car driving past a factory&#10;&#10;Description automatically generated">
            <a:extLst>
              <a:ext uri="{FF2B5EF4-FFF2-40B4-BE49-F238E27FC236}">
                <a16:creationId xmlns:a16="http://schemas.microsoft.com/office/drawing/2014/main" id="{5B60FB9D-59F6-5D5B-9478-3E5B15352F1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0" b="15948"/>
          <a:stretch/>
        </p:blipFill>
        <p:spPr>
          <a:xfrm>
            <a:off x="5906587" y="2376142"/>
            <a:ext cx="3025124" cy="3357603"/>
          </a:xfrm>
          <a:prstGeom prst="rect">
            <a:avLst/>
          </a:prstGeom>
        </p:spPr>
      </p:pic>
      <p:pic>
        <p:nvPicPr>
          <p:cNvPr id="13" name="Picture 12" descr="A large tanks outside of a factory&#10;&#10;Description automatically generated">
            <a:extLst>
              <a:ext uri="{FF2B5EF4-FFF2-40B4-BE49-F238E27FC236}">
                <a16:creationId xmlns:a16="http://schemas.microsoft.com/office/drawing/2014/main" id="{79B3983D-2C04-4F71-57C9-B63C05A4A27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97" r="6194" b="32061"/>
          <a:stretch/>
        </p:blipFill>
        <p:spPr>
          <a:xfrm>
            <a:off x="212291" y="2376142"/>
            <a:ext cx="3025124" cy="3357603"/>
          </a:xfrm>
          <a:prstGeom prst="rect">
            <a:avLst/>
          </a:prstGeom>
        </p:spPr>
      </p:pic>
      <p:sp>
        <p:nvSpPr>
          <p:cNvPr id="18" name="Arrow: Right 17">
            <a:extLst>
              <a:ext uri="{FF2B5EF4-FFF2-40B4-BE49-F238E27FC236}">
                <a16:creationId xmlns:a16="http://schemas.microsoft.com/office/drawing/2014/main" id="{BAC4933D-EB46-6C50-FFB2-0FBD044786FD}"/>
              </a:ext>
            </a:extLst>
          </p:cNvPr>
          <p:cNvSpPr/>
          <p:nvPr/>
        </p:nvSpPr>
        <p:spPr>
          <a:xfrm rot="12874279">
            <a:off x="7551042" y="3672117"/>
            <a:ext cx="1287604" cy="865573"/>
          </a:xfrm>
          <a:prstGeom prst="rightArrow">
            <a:avLst/>
          </a:prstGeom>
          <a:ln w="63500" cap="rnd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4243490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2400">
                <a:latin typeface="Arial"/>
                <a:cs typeface="Arial"/>
              </a:rPr>
              <a:t>No open burn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ir Quality</a:t>
            </a:r>
          </a:p>
        </p:txBody>
      </p:sp>
      <p:pic>
        <p:nvPicPr>
          <p:cNvPr id="11" name="Picture 5" descr="A picture containing text, outdoor, way, scene&#10;&#10;Description automatically generated">
            <a:extLst>
              <a:ext uri="{FF2B5EF4-FFF2-40B4-BE49-F238E27FC236}">
                <a16:creationId xmlns:a16="http://schemas.microsoft.com/office/drawing/2014/main" id="{70CEE84A-ACC8-4742-81DF-E5FED536B5F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795" t="148" r="20059" b="-601"/>
          <a:stretch/>
        </p:blipFill>
        <p:spPr>
          <a:xfrm>
            <a:off x="297418" y="3041408"/>
            <a:ext cx="3976504" cy="3349897"/>
          </a:xfrm>
          <a:prstGeom prst="rect">
            <a:avLst/>
          </a:prstGeom>
        </p:spPr>
      </p:pic>
      <p:pic>
        <p:nvPicPr>
          <p:cNvPr id="12" name="Picture 6" descr="A picture containing grass, outdoor, sunset, nature&#10;&#10;Description automatically generated">
            <a:extLst>
              <a:ext uri="{FF2B5EF4-FFF2-40B4-BE49-F238E27FC236}">
                <a16:creationId xmlns:a16="http://schemas.microsoft.com/office/drawing/2014/main" id="{5D232CC7-D56C-4068-B55E-9E0C047F919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-221" b="17672"/>
          <a:stretch/>
        </p:blipFill>
        <p:spPr>
          <a:xfrm>
            <a:off x="4876125" y="3044869"/>
            <a:ext cx="4042854" cy="3356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1021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6DB36-DC34-4F3B-8B50-AF2DAB5E98F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5400"/>
              <a:t>WASTE</a:t>
            </a:r>
          </a:p>
        </p:txBody>
      </p:sp>
    </p:spTree>
    <p:extLst>
      <p:ext uri="{BB962C8B-B14F-4D97-AF65-F5344CB8AC3E}">
        <p14:creationId xmlns:p14="http://schemas.microsoft.com/office/powerpoint/2010/main" val="35258437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9116" y="1950099"/>
            <a:ext cx="7903083" cy="807393"/>
          </a:xfrm>
        </p:spPr>
        <p:txBody>
          <a:bodyPr anchor="t">
            <a:normAutofit/>
          </a:bodyPr>
          <a:lstStyle/>
          <a:p>
            <a:r>
              <a:rPr lang="en-US"/>
              <a:t>Waste Handling Regula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19752" y="6577563"/>
            <a:ext cx="824248" cy="280436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5EB69C0-7537-C24C-BC67-8B5F238D9475}" type="slidenum">
              <a:rPr lang="en-US" smtClean="0"/>
              <a:pPr>
                <a:spcAft>
                  <a:spcPts val="600"/>
                </a:spcAft>
              </a:pPr>
              <a:t>23</a:t>
            </a:fld>
            <a:endParaRPr lang="en-US"/>
          </a:p>
        </p:txBody>
      </p:sp>
      <p:pic>
        <p:nvPicPr>
          <p:cNvPr id="6" name="Picture 2" descr="Image result for hazardous waste">
            <a:extLst>
              <a:ext uri="{FF2B5EF4-FFF2-40B4-BE49-F238E27FC236}">
                <a16:creationId xmlns:a16="http://schemas.microsoft.com/office/drawing/2014/main" id="{7FCBB541-B5FD-4EE1-B217-E227E1412A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22" r="-3" b="10521"/>
          <a:stretch/>
        </p:blipFill>
        <p:spPr bwMode="auto">
          <a:xfrm>
            <a:off x="3700093" y="3006187"/>
            <a:ext cx="4722106" cy="3227322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19117" y="3006187"/>
            <a:ext cx="3081930" cy="3227322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 fontAlgn="base">
              <a:buNone/>
            </a:pPr>
            <a:r>
              <a:rPr lang="en-US"/>
              <a:t>Identifying Waste</a:t>
            </a:r>
          </a:p>
          <a:p>
            <a:pPr marL="0" indent="0" fontAlgn="base">
              <a:buNone/>
            </a:pPr>
            <a:endParaRPr lang="en-US"/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/>
              <a:t>Hazardous Waste​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/>
              <a:t>Universal Waste​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/>
              <a:t>Solid Waste​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/>
              <a:t>Industrial Waste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96470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 marL="0" indent="0" fontAlgn="base">
              <a:buNone/>
            </a:pPr>
            <a:r>
              <a:rPr lang="en-US" sz="2400">
                <a:solidFill>
                  <a:srgbClr val="000000"/>
                </a:solidFill>
                <a:latin typeface="Arial"/>
                <a:cs typeface="Arial"/>
              </a:rPr>
              <a:t>Hazardous Waste - Place in Satellite Accumulation Drums​</a:t>
            </a:r>
          </a:p>
          <a:p>
            <a:pPr fontAlgn="base"/>
            <a:r>
              <a:rPr lang="en-US" sz="2400">
                <a:solidFill>
                  <a:srgbClr val="000000"/>
                </a:solidFill>
                <a:latin typeface="Arial" panose="020B0604020202020204" pitchFamily="34" charset="0"/>
              </a:rPr>
              <a:t>Gasoline filters​</a:t>
            </a:r>
            <a:endParaRPr lang="en-US" sz="240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base"/>
            <a:r>
              <a:rPr lang="en-US" sz="2400">
                <a:solidFill>
                  <a:srgbClr val="000000"/>
                </a:solidFill>
                <a:latin typeface="Arial" panose="020B0604020202020204" pitchFamily="34" charset="0"/>
              </a:rPr>
              <a:t>Lab wastes​</a:t>
            </a:r>
            <a:endParaRPr lang="en-US" sz="240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base"/>
            <a:r>
              <a:rPr lang="en-US" sz="2400">
                <a:solidFill>
                  <a:srgbClr val="000000"/>
                </a:solidFill>
                <a:latin typeface="Arial" panose="020B0604020202020204" pitchFamily="34" charset="0"/>
              </a:rPr>
              <a:t>Broken light bulbs​</a:t>
            </a:r>
            <a:endParaRPr lang="en-US" sz="240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pPr fontAlgn="base"/>
            <a:r>
              <a:rPr lang="en-US" sz="2400">
                <a:solidFill>
                  <a:srgbClr val="000000"/>
                </a:solidFill>
                <a:latin typeface="Arial" panose="020B0604020202020204" pitchFamily="34" charset="0"/>
              </a:rPr>
              <a:t>Paint related debris</a:t>
            </a:r>
            <a:endParaRPr lang="en-US" sz="2400">
              <a:solidFill>
                <a:srgbClr val="000000"/>
              </a:solidFill>
              <a:latin typeface="Segoe UI" panose="020B0502040204020203" pitchFamily="34" charset="0"/>
            </a:endParaRP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aste Categories</a:t>
            </a:r>
          </a:p>
        </p:txBody>
      </p:sp>
      <p:pic>
        <p:nvPicPr>
          <p:cNvPr id="6" name="Picture 2" descr="Image result for hazardous waste">
            <a:extLst>
              <a:ext uri="{FF2B5EF4-FFF2-40B4-BE49-F238E27FC236}">
                <a16:creationId xmlns:a16="http://schemas.microsoft.com/office/drawing/2014/main" id="{7FCBB541-B5FD-4EE1-B217-E227E1412A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8551" y="2028888"/>
            <a:ext cx="4746084" cy="4434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6EEC09AD-D8AB-4914-96F0-D73C9936E7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5795" y="3183180"/>
            <a:ext cx="1930766" cy="1444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60570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373B0A47-3897-4AAA-AF76-A18E8ECB5162}"/>
              </a:ext>
            </a:extLst>
          </p:cNvPr>
          <p:cNvSpPr txBox="1"/>
          <p:nvPr/>
        </p:nvSpPr>
        <p:spPr>
          <a:xfrm>
            <a:off x="4629150" y="1532051"/>
            <a:ext cx="3887391" cy="82391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marR="0" fontAlgn="base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F572A"/>
              </a:buClr>
              <a:buSzPct val="105000"/>
              <a:tabLst/>
              <a:defRPr/>
            </a:pP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BB5D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4" descr="Image result for battery disposal">
            <a:extLst>
              <a:ext uri="{FF2B5EF4-FFF2-40B4-BE49-F238E27FC236}">
                <a16:creationId xmlns:a16="http://schemas.microsoft.com/office/drawing/2014/main" id="{3A7EC171-8907-4799-BBEB-F7B5FD6F9F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6" r="23529" b="-1"/>
          <a:stretch/>
        </p:blipFill>
        <p:spPr bwMode="auto">
          <a:xfrm>
            <a:off x="5395024" y="1379375"/>
            <a:ext cx="2440291" cy="2300406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9EE03F1D-C066-18D4-3B8E-E845E5D7B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B5EB69C0-7537-C24C-BC67-8B5F238D9475}" type="slidenum">
              <a:rPr lang="en-US" smtClean="0"/>
              <a:pPr>
                <a:spcAft>
                  <a:spcPts val="600"/>
                </a:spcAft>
              </a:pPr>
              <a:t>25</a:t>
            </a:fld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3ED42E69-4B50-9376-BDDF-90CCBA102B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F572A"/>
              </a:buClr>
              <a:buSzPct val="105000"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niversal Waste</a:t>
            </a:r>
          </a:p>
          <a:p>
            <a:pPr marL="231775" marR="0" lvl="0" indent="-231775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F572A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b="0">
                <a:solidFill>
                  <a:srgbClr val="000000"/>
                </a:solidFill>
                <a:latin typeface="Arial"/>
                <a:cs typeface="Arial"/>
              </a:rPr>
              <a:t>Light Bulbs</a:t>
            </a:r>
          </a:p>
          <a:p>
            <a:pPr marL="231775" marR="0" lvl="0" indent="-231775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F572A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atteries</a:t>
            </a:r>
            <a:endParaRPr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31775" indent="-231775">
              <a:buFont typeface="Arial" panose="020B0604020202020204" pitchFamily="34" charset="0"/>
              <a:buChar char="•"/>
              <a:defRPr/>
            </a:pPr>
            <a:r>
              <a:rPr lang="en-US" b="0">
                <a:solidFill>
                  <a:srgbClr val="000000"/>
                </a:solidFill>
                <a:latin typeface="Arial"/>
                <a:cs typeface="Arial"/>
              </a:rPr>
              <a:t>Used Aerosol Cans</a:t>
            </a: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B8EB387F-0265-18AB-D6B0-66E59BED6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aste Categories</a:t>
            </a:r>
          </a:p>
        </p:txBody>
      </p:sp>
      <p:pic>
        <p:nvPicPr>
          <p:cNvPr id="7" name="Picture 2" descr="Image result for battery disposal">
            <a:extLst>
              <a:ext uri="{FF2B5EF4-FFF2-40B4-BE49-F238E27FC236}">
                <a16:creationId xmlns:a16="http://schemas.microsoft.com/office/drawing/2014/main" id="{BD163192-0606-4958-AE19-5D5774E749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63" r="17582" b="2"/>
          <a:stretch/>
        </p:blipFill>
        <p:spPr bwMode="auto">
          <a:xfrm>
            <a:off x="5398318" y="4021907"/>
            <a:ext cx="2440289" cy="2300405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DC0B7E3-CFE1-4208-97EE-05A779DA21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0313" y="3076322"/>
            <a:ext cx="2361145" cy="1745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193701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9116" y="1950099"/>
            <a:ext cx="7903083" cy="807393"/>
          </a:xfrm>
        </p:spPr>
        <p:txBody>
          <a:bodyPr anchor="t">
            <a:normAutofit/>
          </a:bodyPr>
          <a:lstStyle/>
          <a:p>
            <a:r>
              <a:rPr lang="en-US"/>
              <a:t>Waste Categori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19752" y="6577563"/>
            <a:ext cx="824248" cy="280436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5EB69C0-7537-C24C-BC67-8B5F238D9475}" type="slidenum">
              <a:rPr lang="en-US" smtClean="0"/>
              <a:pPr>
                <a:spcAft>
                  <a:spcPts val="600"/>
                </a:spcAft>
              </a:pPr>
              <a:t>26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5A50F4-5DCE-48E7-9019-96C9197D40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0900" y="3006187"/>
            <a:ext cx="2420491" cy="3227322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19117" y="3006187"/>
            <a:ext cx="3081930" cy="3227322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 fontAlgn="base">
              <a:buNone/>
            </a:pPr>
            <a:r>
              <a:rPr lang="en-US" sz="1400"/>
              <a:t>Municipal Solid Wastes </a:t>
            </a:r>
          </a:p>
          <a:p>
            <a:pPr fontAlgn="base"/>
            <a:r>
              <a:rPr lang="en-US" sz="1400"/>
              <a:t>Cardboard </a:t>
            </a:r>
          </a:p>
          <a:p>
            <a:pPr fontAlgn="base"/>
            <a:r>
              <a:rPr lang="en-US" sz="1400"/>
              <a:t>Lunchroom trash</a:t>
            </a:r>
          </a:p>
          <a:p>
            <a:pPr fontAlgn="base"/>
            <a:r>
              <a:rPr lang="en-US" sz="1400"/>
              <a:t>Wood​</a:t>
            </a:r>
          </a:p>
          <a:p>
            <a:pPr fontAlgn="base"/>
            <a:endParaRPr lang="en-US" sz="1400"/>
          </a:p>
          <a:p>
            <a:pPr marL="0" indent="0" fontAlgn="base">
              <a:buNone/>
            </a:pPr>
            <a:r>
              <a:rPr lang="en-US" sz="1400"/>
              <a:t>Industrial Wastes​</a:t>
            </a:r>
          </a:p>
          <a:p>
            <a:pPr fontAlgn="base"/>
            <a:r>
              <a:rPr lang="en-US" sz="1400"/>
              <a:t>Electronics</a:t>
            </a:r>
          </a:p>
          <a:p>
            <a:pPr fontAlgn="base"/>
            <a:r>
              <a:rPr lang="en-US" sz="1400"/>
              <a:t>Petroleum contaminated debris</a:t>
            </a:r>
          </a:p>
          <a:p>
            <a:pPr fontAlgn="base"/>
            <a:r>
              <a:rPr lang="en-US" sz="1400"/>
              <a:t>Tires</a:t>
            </a:r>
          </a:p>
          <a:p>
            <a:pPr fontAlgn="base"/>
            <a:endParaRPr lang="en-US" sz="1400"/>
          </a:p>
          <a:p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42563606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 fontAlgn="base">
              <a:buNone/>
            </a:pPr>
            <a:r>
              <a:rPr lang="en-US" sz="2400" u="sng">
                <a:latin typeface="Arial"/>
                <a:cs typeface="Arial"/>
              </a:rPr>
              <a:t>NEVER</a:t>
            </a:r>
            <a:r>
              <a:rPr lang="en-US" sz="2400">
                <a:latin typeface="Arial"/>
                <a:cs typeface="Arial"/>
              </a:rPr>
              <a:t> dispose of Hazardous Wastes by:​</a:t>
            </a:r>
          </a:p>
          <a:p>
            <a:pPr fontAlgn="base"/>
            <a:r>
              <a:rPr lang="en-US" sz="2400">
                <a:latin typeface="Arial"/>
                <a:cs typeface="Arial"/>
              </a:rPr>
              <a:t>placing them in the garbage​</a:t>
            </a:r>
          </a:p>
          <a:p>
            <a:pPr fontAlgn="base"/>
            <a:r>
              <a:rPr lang="en-US" sz="2400">
                <a:latin typeface="Arial"/>
                <a:cs typeface="Arial"/>
              </a:rPr>
              <a:t>letting them evaporate into the atmosphere or​</a:t>
            </a:r>
          </a:p>
          <a:p>
            <a:pPr fontAlgn="base"/>
            <a:r>
              <a:rPr lang="en-US" sz="2400">
                <a:latin typeface="Arial"/>
                <a:cs typeface="Arial"/>
              </a:rPr>
              <a:t>dumping them down the drain and/or into a sewer system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aste Handling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22AE00F-FB14-4FDF-8109-6421895381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8530" y="3192168"/>
            <a:ext cx="5186940" cy="3715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Multiplication Sign 7">
            <a:extLst>
              <a:ext uri="{FF2B5EF4-FFF2-40B4-BE49-F238E27FC236}">
                <a16:creationId xmlns:a16="http://schemas.microsoft.com/office/drawing/2014/main" id="{D39A42BB-3303-439C-BC32-601D1970559C}"/>
              </a:ext>
            </a:extLst>
          </p:cNvPr>
          <p:cNvSpPr/>
          <p:nvPr/>
        </p:nvSpPr>
        <p:spPr>
          <a:xfrm>
            <a:off x="2401981" y="3644899"/>
            <a:ext cx="3173320" cy="2474351"/>
          </a:xfrm>
          <a:prstGeom prst="mathMultiply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8162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BD49478-AA0F-9209-BA6F-901221869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/>
              <a:pPr/>
              <a:t>28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ED5B23-9A31-7E41-CBFB-B1657584CD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2721" y="1201269"/>
            <a:ext cx="4289279" cy="4464423"/>
          </a:xfrm>
        </p:spPr>
        <p:txBody>
          <a:bodyPr vert="horz" lIns="68580" tIns="34290" rIns="68580" bIns="34290" rtlCol="0" anchor="t">
            <a:normAutofit/>
          </a:bodyPr>
          <a:lstStyle/>
          <a:p>
            <a:pPr marL="0" indent="0">
              <a:buNone/>
            </a:pPr>
            <a:r>
              <a:rPr lang="en-US" sz="2400" b="1" u="sng">
                <a:latin typeface="Arial"/>
                <a:cs typeface="Arial"/>
              </a:rPr>
              <a:t>What is a P2 Plan?</a:t>
            </a:r>
            <a:endParaRPr lang="en-US" sz="2400"/>
          </a:p>
          <a:p>
            <a:r>
              <a:rPr lang="en-US" sz="2400">
                <a:latin typeface="Arial"/>
                <a:cs typeface="Arial"/>
              </a:rPr>
              <a:t>Required document for all </a:t>
            </a:r>
            <a:r>
              <a:rPr lang="en-US" sz="2400" b="1">
                <a:latin typeface="Arial"/>
                <a:cs typeface="Arial"/>
              </a:rPr>
              <a:t>Large Quantity Generators (LQG’s) </a:t>
            </a:r>
            <a:r>
              <a:rPr lang="en-US" sz="2400">
                <a:latin typeface="Arial"/>
                <a:cs typeface="Arial"/>
              </a:rPr>
              <a:t>of hazardous waste.</a:t>
            </a:r>
            <a:endParaRPr lang="en-US" sz="2400"/>
          </a:p>
          <a:p>
            <a:r>
              <a:rPr lang="en-US" sz="2400">
                <a:latin typeface="Arial"/>
                <a:cs typeface="Arial"/>
              </a:rPr>
              <a:t>Outlines goals, and successes in waste minimization or mitigations to our environmental impact.</a:t>
            </a:r>
            <a:endParaRPr lang="en-US" sz="2400"/>
          </a:p>
          <a:p>
            <a:r>
              <a:rPr lang="en-US" sz="2400">
                <a:latin typeface="Arial"/>
                <a:cs typeface="Arial"/>
              </a:rPr>
              <a:t>Goals and reductions must be tracked and maintained.</a:t>
            </a:r>
          </a:p>
          <a:p>
            <a:endParaRPr lang="en-US" sz="24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D7F329E-61AB-CE20-F9BE-FC1B0B8F1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Pollution Prevention (P2) Plan</a:t>
            </a:r>
            <a:endParaRPr lang="en-US" sz="2000" b="0">
              <a:ea typeface="+mn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B6CDB1-5CCD-49EC-83EC-DE50A83A180D}"/>
              </a:ext>
            </a:extLst>
          </p:cNvPr>
          <p:cNvSpPr txBox="1"/>
          <p:nvPr/>
        </p:nvSpPr>
        <p:spPr>
          <a:xfrm>
            <a:off x="4713783" y="1201269"/>
            <a:ext cx="4515200" cy="37856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 u="sng">
                <a:cs typeface="Arial" panose="020B0604020202020204"/>
              </a:rPr>
              <a:t>Goals Focus On:</a:t>
            </a:r>
            <a:endParaRPr lang="en-US" sz="2400">
              <a:cs typeface="Arial" panose="020B0604020202020204"/>
            </a:endParaRPr>
          </a:p>
          <a:p>
            <a:pPr marL="213995" indent="-213995">
              <a:buClr>
                <a:srgbClr val="BB5D00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 sz="2400">
                <a:latin typeface="Arial"/>
                <a:cs typeface="Arial"/>
              </a:rPr>
              <a:t>Reduction of toxic substance use</a:t>
            </a:r>
            <a:endParaRPr lang="en-US">
              <a:latin typeface="Arial"/>
              <a:cs typeface="Arial"/>
            </a:endParaRPr>
          </a:p>
          <a:p>
            <a:pPr marL="213995" indent="-213995">
              <a:buClr>
                <a:srgbClr val="BB5D00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 sz="2400">
                <a:latin typeface="Arial"/>
                <a:cs typeface="Arial"/>
              </a:rPr>
              <a:t>Minimization of hazardous waste</a:t>
            </a:r>
          </a:p>
          <a:p>
            <a:pPr marL="213995" indent="-213995">
              <a:buClr>
                <a:srgbClr val="BB5D00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 sz="2400">
                <a:latin typeface="Arial"/>
                <a:cs typeface="Arial"/>
              </a:rPr>
              <a:t>Energy/Resource Conservation</a:t>
            </a:r>
          </a:p>
          <a:p>
            <a:pPr marL="213995" indent="-213995">
              <a:buClr>
                <a:srgbClr val="BB5D00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 sz="2400">
                <a:latin typeface="Arial"/>
                <a:cs typeface="Arial"/>
              </a:rPr>
              <a:t>Water Conservation </a:t>
            </a:r>
          </a:p>
          <a:p>
            <a:pPr marL="213995" indent="-213995">
              <a:buClr>
                <a:srgbClr val="BB5D00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 sz="2400">
                <a:latin typeface="Arial"/>
                <a:cs typeface="Arial"/>
              </a:rPr>
              <a:t>Solid Waste Diversion</a:t>
            </a:r>
          </a:p>
          <a:p>
            <a:pPr marL="213995" indent="-213995">
              <a:buClr>
                <a:srgbClr val="BB5D00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 sz="2400">
                <a:latin typeface="Arial"/>
                <a:cs typeface="Arial"/>
              </a:rPr>
              <a:t>Recycling Materials</a:t>
            </a:r>
          </a:p>
        </p:txBody>
      </p:sp>
      <p:sp>
        <p:nvSpPr>
          <p:cNvPr id="8" name="TextBox 1">
            <a:extLst>
              <a:ext uri="{FF2B5EF4-FFF2-40B4-BE49-F238E27FC236}">
                <a16:creationId xmlns:a16="http://schemas.microsoft.com/office/drawing/2014/main" id="{FB024909-6D1A-3D11-7C16-6060E028F34D}"/>
              </a:ext>
            </a:extLst>
          </p:cNvPr>
          <p:cNvSpPr txBox="1"/>
          <p:nvPr/>
        </p:nvSpPr>
        <p:spPr>
          <a:xfrm>
            <a:off x="671275" y="6128394"/>
            <a:ext cx="7806764" cy="66941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u="sng">
                <a:solidFill>
                  <a:schemeClr val="accent1"/>
                </a:solidFill>
              </a:rPr>
              <a:t>We all play an important role in an effective P2 Plan.</a:t>
            </a:r>
            <a:endParaRPr lang="en-US" sz="2400" b="1" u="sng">
              <a:solidFill>
                <a:schemeClr val="accent1"/>
              </a:solidFill>
              <a:cs typeface="Arial"/>
            </a:endParaRPr>
          </a:p>
          <a:p>
            <a:endParaRPr lang="en-US" sz="135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0587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D7F329E-61AB-CE20-F9BE-FC1B0B8F1E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9116" y="1950099"/>
            <a:ext cx="7903083" cy="807393"/>
          </a:xfrm>
        </p:spPr>
        <p:txBody>
          <a:bodyPr anchor="t">
            <a:normAutofit/>
          </a:bodyPr>
          <a:lstStyle/>
          <a:p>
            <a:r>
              <a:rPr lang="en-US"/>
              <a:t>Pollution Prevention (P2) Goal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BD49478-AA0F-9209-BA6F-9012218696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19752" y="6577563"/>
            <a:ext cx="824248" cy="280436"/>
          </a:xfrm>
        </p:spPr>
        <p:txBody>
          <a:bodyPr>
            <a:normAutofit/>
          </a:bodyPr>
          <a:lstStyle/>
          <a:p>
            <a:pPr marL="0" marR="0" lvl="0" indent="0" defTabSz="6858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B5EB69C0-7537-C24C-BC67-8B5F238D9475}" type="slidenum"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pPr marL="0" marR="0" lvl="0" indent="0" defTabSz="6858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b="0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11" name="Picture 10" descr="A group of cows standing around a water fountain&#10;&#10;Description automatically generated">
            <a:extLst>
              <a:ext uri="{FF2B5EF4-FFF2-40B4-BE49-F238E27FC236}">
                <a16:creationId xmlns:a16="http://schemas.microsoft.com/office/drawing/2014/main" id="{BF3AAD54-B217-30A3-25D7-8C82CB0600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0093" y="3580985"/>
            <a:ext cx="4722106" cy="2077726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ED5B23-9A31-7E41-CBFB-B1657584CD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19117" y="3006187"/>
            <a:ext cx="3081930" cy="3227322"/>
          </a:xfrm>
        </p:spPr>
        <p:txBody>
          <a:bodyPr vert="horz" lIns="68580" tIns="34290" rIns="68580" bIns="34290" rtlCol="0">
            <a:normAutofit/>
          </a:bodyPr>
          <a:lstStyle/>
          <a:p>
            <a:r>
              <a:rPr lang="en-US"/>
              <a:t>HDPE Recycling –  &gt;3,000,000 </a:t>
            </a:r>
            <a:r>
              <a:rPr lang="en-US" err="1"/>
              <a:t>Lbs</a:t>
            </a:r>
            <a:r>
              <a:rPr lang="en-US"/>
              <a:t> Recycled</a:t>
            </a:r>
          </a:p>
          <a:p>
            <a:r>
              <a:rPr lang="en-US"/>
              <a:t>L.E.D. Light Implementation</a:t>
            </a:r>
          </a:p>
          <a:p>
            <a:r>
              <a:rPr lang="en-US"/>
              <a:t>Haul truck tire landfill diversion: livestock water tanks - 1,600,000lbs diverted from landfills in 2022</a:t>
            </a:r>
          </a:p>
          <a:p>
            <a:endParaRPr lang="en-US" b="1" u="sng"/>
          </a:p>
        </p:txBody>
      </p:sp>
    </p:spTree>
    <p:extLst>
      <p:ext uri="{BB962C8B-B14F-4D97-AF65-F5344CB8AC3E}">
        <p14:creationId xmlns:p14="http://schemas.microsoft.com/office/powerpoint/2010/main" val="12114284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white truck parked in front of a building&#10;&#10;Description automatically generated">
            <a:extLst>
              <a:ext uri="{FF2B5EF4-FFF2-40B4-BE49-F238E27FC236}">
                <a16:creationId xmlns:a16="http://schemas.microsoft.com/office/drawing/2014/main" id="{87B554A4-CF4B-DD8E-828B-B4AA53786D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747" y="1243847"/>
            <a:ext cx="8404507" cy="448460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5DA36AE-0B91-401E-16D8-027237758C1D}"/>
              </a:ext>
            </a:extLst>
          </p:cNvPr>
          <p:cNvSpPr txBox="1"/>
          <p:nvPr/>
        </p:nvSpPr>
        <p:spPr>
          <a:xfrm>
            <a:off x="5004706" y="5812972"/>
            <a:ext cx="3551464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>
                <a:cs typeface="Arial"/>
              </a:rPr>
              <a:t>Hwy 191 &amp; Palo Verde</a:t>
            </a:r>
          </a:p>
          <a:p>
            <a:r>
              <a:rPr lang="en-US" sz="2400" b="1">
                <a:cs typeface="Arial"/>
              </a:rPr>
              <a:t>928-865-6000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AAC0806-704A-6DDE-6D76-F1EF1CCC3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ere we are located…</a:t>
            </a:r>
          </a:p>
        </p:txBody>
      </p:sp>
    </p:spTree>
    <p:extLst>
      <p:ext uri="{BB962C8B-B14F-4D97-AF65-F5344CB8AC3E}">
        <p14:creationId xmlns:p14="http://schemas.microsoft.com/office/powerpoint/2010/main" val="24015477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BD49478-AA0F-9209-BA6F-901221869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EB69C0-7537-C24C-BC67-8B5F238D9475}" type="slidenum"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511F1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511F1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ED5B23-9A31-7E41-CBFB-B1657584CD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68580" tIns="34290" rIns="68580" bIns="34290" rtlCol="0" anchor="t">
            <a:normAutofit/>
          </a:bodyPr>
          <a:lstStyle/>
          <a:p>
            <a:endParaRPr lang="en-US" sz="2400" b="1">
              <a:latin typeface="Arial"/>
              <a:cs typeface="Arial"/>
            </a:endParaRPr>
          </a:p>
          <a:p>
            <a:endParaRPr lang="en-US" sz="2100" b="1" u="sng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D7F329E-61AB-CE20-F9BE-FC1B0B8F1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Pollution Prevention (P2) Goals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6CE977-FAA4-42F0-A018-5220D12CDD8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703" r="6234"/>
          <a:stretch/>
        </p:blipFill>
        <p:spPr>
          <a:xfrm>
            <a:off x="4424171" y="1570022"/>
            <a:ext cx="4611748" cy="431961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580D208-458E-48A5-BDD8-B384DB5DC804}"/>
              </a:ext>
            </a:extLst>
          </p:cNvPr>
          <p:cNvSpPr txBox="1"/>
          <p:nvPr/>
        </p:nvSpPr>
        <p:spPr>
          <a:xfrm>
            <a:off x="3414838" y="2352211"/>
            <a:ext cx="1167692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>
                <a:solidFill>
                  <a:srgbClr val="FF0000"/>
                </a:solidFill>
              </a:rPr>
              <a:t>The Best!</a:t>
            </a:r>
            <a:endParaRPr lang="en-US" sz="1600">
              <a:solidFill>
                <a:srgbClr val="FF0000"/>
              </a:solidFill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1EEDB2-CFFD-4526-AD64-0D85C109B599}"/>
              </a:ext>
            </a:extLst>
          </p:cNvPr>
          <p:cNvSpPr txBox="1"/>
          <p:nvPr/>
        </p:nvSpPr>
        <p:spPr>
          <a:xfrm>
            <a:off x="245861" y="1642505"/>
            <a:ext cx="3404545" cy="415498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 u="sng"/>
              <a:t>Here are a few ways to contribute!</a:t>
            </a:r>
            <a:endParaRPr lang="en-US" sz="2400" b="1">
              <a:effectLst/>
              <a:ea typeface="Calibri" panose="020F0502020204030204" pitchFamily="34" charset="0"/>
              <a:cs typeface="Arial"/>
            </a:endParaRPr>
          </a:p>
          <a:p>
            <a:endParaRPr lang="en-US" sz="2400" b="1" u="sng">
              <a:ea typeface="Calibri" panose="020F0502020204030204" pitchFamily="34" charset="0"/>
            </a:endParaRPr>
          </a:p>
          <a:p>
            <a:pPr marL="213995" indent="-213995">
              <a:buFont typeface="Arial" panose="020B0604020202020204" pitchFamily="34" charset="0"/>
              <a:buChar char="•"/>
            </a:pPr>
            <a:r>
              <a:rPr lang="en-US" sz="2400">
                <a:ea typeface="Calibri" panose="020F0502020204030204" pitchFamily="34" charset="0"/>
              </a:rPr>
              <a:t>R</a:t>
            </a:r>
            <a:r>
              <a:rPr lang="en-US" sz="2400">
                <a:effectLst/>
                <a:ea typeface="Calibri" panose="020F0502020204030204" pitchFamily="34" charset="0"/>
              </a:rPr>
              <a:t>educe </a:t>
            </a:r>
            <a:r>
              <a:rPr lang="en-US" sz="2400">
                <a:ea typeface="Calibri" panose="020F0502020204030204" pitchFamily="34" charset="0"/>
              </a:rPr>
              <a:t>waste</a:t>
            </a:r>
            <a:r>
              <a:rPr lang="en-US" sz="2400">
                <a:effectLst/>
                <a:ea typeface="Calibri" panose="020F0502020204030204" pitchFamily="34" charset="0"/>
              </a:rPr>
              <a:t> </a:t>
            </a:r>
            <a:r>
              <a:rPr lang="en-US" sz="2400">
                <a:ea typeface="Calibri" panose="020F0502020204030204" pitchFamily="34" charset="0"/>
              </a:rPr>
              <a:t>at</a:t>
            </a:r>
            <a:r>
              <a:rPr lang="en-US" sz="2400">
                <a:effectLst/>
                <a:ea typeface="Calibri" panose="020F0502020204030204" pitchFamily="34" charset="0"/>
              </a:rPr>
              <a:t> the </a:t>
            </a:r>
            <a:r>
              <a:rPr lang="en-US" sz="2400">
                <a:ea typeface="Calibri" panose="020F0502020204030204" pitchFamily="34" charset="0"/>
              </a:rPr>
              <a:t>source</a:t>
            </a:r>
            <a:endParaRPr lang="en-US" sz="2400">
              <a:effectLst/>
              <a:ea typeface="Calibri" panose="020F0502020204030204" pitchFamily="34" charset="0"/>
              <a:cs typeface="Arial"/>
            </a:endParaRPr>
          </a:p>
          <a:p>
            <a:pPr marL="213995" indent="-213995">
              <a:buFont typeface="Arial" panose="020B0604020202020204" pitchFamily="34" charset="0"/>
              <a:buChar char="•"/>
            </a:pPr>
            <a:r>
              <a:rPr lang="en-US" sz="2400">
                <a:ea typeface="Calibri" panose="020F0502020204030204" pitchFamily="34" charset="0"/>
              </a:rPr>
              <a:t>Segregate waste into appropriate containers</a:t>
            </a:r>
            <a:endParaRPr lang="en-US" sz="2400">
              <a:effectLst/>
              <a:ea typeface="Calibri" panose="020F0502020204030204" pitchFamily="34" charset="0"/>
              <a:cs typeface="Arial"/>
            </a:endParaRPr>
          </a:p>
          <a:p>
            <a:pPr marL="213995" indent="-213995">
              <a:buFont typeface="Arial" panose="020B0604020202020204" pitchFamily="34" charset="0"/>
              <a:buChar char="•"/>
            </a:pPr>
            <a:r>
              <a:rPr lang="en-US" sz="2400">
                <a:ea typeface="Calibri" panose="020F0502020204030204" pitchFamily="34" charset="0"/>
              </a:rPr>
              <a:t>Choose nonhazardous chemical alternatives</a:t>
            </a:r>
            <a:endParaRPr lang="en-US" sz="2400">
              <a:cs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83A7C7A-43A4-4ACD-B14A-345B9BB5B83B}"/>
              </a:ext>
            </a:extLst>
          </p:cNvPr>
          <p:cNvSpPr txBox="1"/>
          <p:nvPr/>
        </p:nvSpPr>
        <p:spPr>
          <a:xfrm>
            <a:off x="543324" y="6106315"/>
            <a:ext cx="814625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/>
              <a:t>Do you have a P2 Idea? Contact your Environmental Rep!</a:t>
            </a:r>
            <a:endParaRPr lang="en-US" sz="24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589541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A11196-767A-51F9-91C6-19C6106853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F79619-0C2C-A82C-FAB5-844C801332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6755" y="1767024"/>
            <a:ext cx="4666392" cy="4464423"/>
          </a:xfrm>
        </p:spPr>
        <p:txBody>
          <a:bodyPr/>
          <a:lstStyle/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i="0" u="none" strike="noStrike">
                <a:solidFill>
                  <a:srgbClr val="000000"/>
                </a:solidFill>
                <a:effectLst/>
                <a:latin typeface="+mn-lt"/>
              </a:rPr>
              <a:t>In oil-filled electrical equipment (OFEE) such as:</a:t>
            </a:r>
            <a:r>
              <a:rPr lang="en-US" sz="1800" i="0">
                <a:solidFill>
                  <a:srgbClr val="000000"/>
                </a:solidFill>
                <a:effectLst/>
                <a:latin typeface="+mn-lt"/>
              </a:rPr>
              <a:t>​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i="0" u="none" strike="noStrike">
                <a:solidFill>
                  <a:srgbClr val="000000"/>
                </a:solidFill>
                <a:effectLst/>
                <a:latin typeface="+mn-lt"/>
              </a:rPr>
              <a:t>Transformers (including potential and circuit)</a:t>
            </a:r>
            <a:r>
              <a:rPr lang="en-US" sz="1800" i="0">
                <a:solidFill>
                  <a:srgbClr val="000000"/>
                </a:solidFill>
                <a:effectLst/>
                <a:latin typeface="+mn-lt"/>
              </a:rPr>
              <a:t>​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i="0" u="none" strike="noStrike">
                <a:solidFill>
                  <a:srgbClr val="000000"/>
                </a:solidFill>
                <a:effectLst/>
                <a:latin typeface="+mn-lt"/>
              </a:rPr>
              <a:t>Capacitors (both small and large)</a:t>
            </a:r>
            <a:r>
              <a:rPr lang="en-US" sz="1800" i="0">
                <a:solidFill>
                  <a:srgbClr val="000000"/>
                </a:solidFill>
                <a:effectLst/>
                <a:latin typeface="+mn-lt"/>
              </a:rPr>
              <a:t>​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i="0" u="none" strike="noStrike">
                <a:solidFill>
                  <a:srgbClr val="000000"/>
                </a:solidFill>
                <a:effectLst/>
                <a:latin typeface="+mn-lt"/>
              </a:rPr>
              <a:t>Light Ballasts</a:t>
            </a:r>
            <a:r>
              <a:rPr lang="en-US" sz="1800" i="0">
                <a:solidFill>
                  <a:srgbClr val="000000"/>
                </a:solidFill>
                <a:effectLst/>
                <a:latin typeface="+mn-lt"/>
              </a:rPr>
              <a:t>​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i="0" u="none" strike="noStrike">
                <a:solidFill>
                  <a:srgbClr val="000000"/>
                </a:solidFill>
                <a:effectLst/>
                <a:latin typeface="+mn-lt"/>
              </a:rPr>
              <a:t>Oil-Filled Circuit Breakers (OCBs)</a:t>
            </a:r>
            <a:r>
              <a:rPr lang="en-US" sz="1800" i="0">
                <a:solidFill>
                  <a:srgbClr val="000000"/>
                </a:solidFill>
                <a:effectLst/>
                <a:latin typeface="+mn-lt"/>
              </a:rPr>
              <a:t>​</a:t>
            </a: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i="0" u="none" strike="noStrike">
                <a:solidFill>
                  <a:srgbClr val="000000"/>
                </a:solidFill>
                <a:effectLst/>
                <a:latin typeface="+mn-lt"/>
              </a:rPr>
              <a:t>Oil-Filled Electromagnets</a:t>
            </a:r>
            <a:r>
              <a:rPr lang="en-US" sz="1800" i="0">
                <a:solidFill>
                  <a:srgbClr val="000000"/>
                </a:solidFill>
                <a:effectLst/>
                <a:latin typeface="+mn-lt"/>
              </a:rPr>
              <a:t>​</a:t>
            </a: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436718-BEC9-B76C-45F6-D68C0AB68C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PCB Management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6A9399A-B992-8334-276D-35C60E5E862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811152" y="1352356"/>
            <a:ext cx="3303391" cy="628650"/>
          </a:xfrm>
        </p:spPr>
        <p:txBody>
          <a:bodyPr/>
          <a:lstStyle/>
          <a:p>
            <a:pPr marL="0" indent="0">
              <a:buNone/>
            </a:pPr>
            <a:r>
              <a:rPr lang="en-US" b="1"/>
              <a:t>Where Are PCBs Found?</a:t>
            </a:r>
            <a:r>
              <a:rPr lang="en-US"/>
              <a:t>​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F0EA826-B010-C769-F75F-DB8B9271B7F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809204" y="1347733"/>
            <a:ext cx="2063469" cy="628650"/>
          </a:xfrm>
        </p:spPr>
        <p:txBody>
          <a:bodyPr/>
          <a:lstStyle/>
          <a:p>
            <a:pPr marL="0" indent="0">
              <a:buNone/>
            </a:pPr>
            <a:r>
              <a:rPr lang="en-US" b="1"/>
              <a:t>What are PCB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3300A1E-F507-FD54-6832-95E938A2333C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39365" y="1798692"/>
            <a:ext cx="3887788" cy="3711575"/>
          </a:xfrm>
        </p:spPr>
        <p:txBody>
          <a:bodyPr/>
          <a:lstStyle/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i="0" u="none" strike="noStrike">
                <a:solidFill>
                  <a:srgbClr val="000000"/>
                </a:solidFill>
                <a:effectLst/>
                <a:latin typeface="+mn-lt"/>
              </a:rPr>
              <a:t>PCB - acronym for </a:t>
            </a:r>
            <a:r>
              <a:rPr lang="en-US" sz="1800" i="0" u="none" strike="noStrike">
                <a:solidFill>
                  <a:srgbClr val="00B050"/>
                </a:solidFill>
                <a:effectLst/>
                <a:latin typeface="+mn-lt"/>
              </a:rPr>
              <a:t>P</a:t>
            </a:r>
            <a:r>
              <a:rPr lang="en-US" sz="1800" i="0" u="none" strike="noStrike">
                <a:solidFill>
                  <a:srgbClr val="000000"/>
                </a:solidFill>
                <a:effectLst/>
                <a:latin typeface="+mn-lt"/>
              </a:rPr>
              <a:t>oly</a:t>
            </a:r>
            <a:r>
              <a:rPr lang="en-US" sz="1800" i="0" u="none" strike="noStrike">
                <a:solidFill>
                  <a:schemeClr val="accent5"/>
                </a:solidFill>
                <a:effectLst/>
                <a:latin typeface="+mn-lt"/>
              </a:rPr>
              <a:t>c</a:t>
            </a:r>
            <a:r>
              <a:rPr lang="en-US" sz="1800" i="0" u="none" strike="noStrike">
                <a:solidFill>
                  <a:srgbClr val="000000"/>
                </a:solidFill>
                <a:effectLst/>
                <a:latin typeface="+mn-lt"/>
              </a:rPr>
              <a:t>hlorinated</a:t>
            </a:r>
            <a:r>
              <a:rPr lang="en-US" sz="1800" i="0" u="none" strike="noStrike">
                <a:solidFill>
                  <a:srgbClr val="00B050"/>
                </a:solidFill>
                <a:effectLst/>
                <a:latin typeface="+mn-lt"/>
              </a:rPr>
              <a:t> </a:t>
            </a:r>
            <a:r>
              <a:rPr lang="en-US" sz="1800">
                <a:solidFill>
                  <a:srgbClr val="00B050"/>
                </a:solidFill>
                <a:latin typeface="+mn-lt"/>
              </a:rPr>
              <a:t>B</a:t>
            </a:r>
            <a:r>
              <a:rPr lang="en-US" sz="1800" i="0" u="none" strike="noStrike">
                <a:effectLst/>
                <a:latin typeface="+mn-lt"/>
              </a:rPr>
              <a:t>iphenyl</a:t>
            </a:r>
            <a:r>
              <a:rPr lang="en-US" sz="1800" i="0" u="none" strike="noStrike">
                <a:solidFill>
                  <a:srgbClr val="00B050"/>
                </a:solidFill>
                <a:effectLst/>
                <a:latin typeface="+mn-lt"/>
              </a:rPr>
              <a:t>(s)</a:t>
            </a:r>
            <a:endParaRPr lang="en-US" sz="1800" i="0">
              <a:solidFill>
                <a:srgbClr val="000000"/>
              </a:solidFill>
              <a:effectLst/>
              <a:latin typeface="+mn-lt"/>
            </a:endParaRP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1600" i="0" u="none" strike="noStrike">
                <a:solidFill>
                  <a:srgbClr val="000000"/>
                </a:solidFill>
                <a:effectLst/>
                <a:latin typeface="+mn-lt"/>
              </a:rPr>
              <a:t>Man</a:t>
            </a:r>
            <a:r>
              <a:rPr lang="en-US" sz="1600" i="0" u="none" strike="noStrike">
                <a:solidFill>
                  <a:srgbClr val="00B050"/>
                </a:solidFill>
                <a:effectLst/>
                <a:latin typeface="+mn-lt"/>
              </a:rPr>
              <a:t>-</a:t>
            </a:r>
            <a:r>
              <a:rPr lang="en-US" sz="1600" i="0" u="none" strike="noStrike">
                <a:solidFill>
                  <a:srgbClr val="000000"/>
                </a:solidFill>
                <a:effectLst/>
                <a:latin typeface="+mn-lt"/>
              </a:rPr>
              <a:t>made chemical 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1600">
                <a:latin typeface="+mn-lt"/>
              </a:rPr>
              <a:t>Manufactured from 1929 </a:t>
            </a:r>
            <a:r>
              <a:rPr lang="en-US" sz="1600">
                <a:solidFill>
                  <a:srgbClr val="00B050"/>
                </a:solidFill>
                <a:latin typeface="+mn-lt"/>
              </a:rPr>
              <a:t>until they were banned in </a:t>
            </a:r>
            <a:r>
              <a:rPr lang="en-US" sz="1600">
                <a:latin typeface="+mn-lt"/>
              </a:rPr>
              <a:t>1979 </a:t>
            </a:r>
            <a:r>
              <a:rPr lang="en-US" sz="1600">
                <a:solidFill>
                  <a:srgbClr val="00B050"/>
                </a:solidFill>
                <a:latin typeface="+mn-lt"/>
              </a:rPr>
              <a:t>due to adverse health effects </a:t>
            </a: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B050"/>
                </a:solidFill>
                <a:latin typeface="+mn-lt"/>
              </a:rPr>
              <a:t>Known</a:t>
            </a:r>
            <a:r>
              <a:rPr lang="en-US" sz="1600">
                <a:latin typeface="+mn-lt"/>
              </a:rPr>
              <a:t> for their non-flammability and chemical stabilit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A974590-69CC-0B1F-01F3-69C3DC2017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9277" y="4400078"/>
            <a:ext cx="1754412" cy="1754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58689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0FC553-94E9-E9C2-20D4-C33C37632D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291A9E-7155-2E42-5303-0E394133F1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699" y="1519519"/>
            <a:ext cx="4404650" cy="4464423"/>
          </a:xfrm>
        </p:spPr>
        <p:txBody>
          <a:bodyPr/>
          <a:lstStyle/>
          <a:p>
            <a:pPr marL="0" indent="0">
              <a:buNone/>
            </a:pPr>
            <a:r>
              <a:rPr lang="en-US" b="1">
                <a:solidFill>
                  <a:schemeClr val="tx2"/>
                </a:solidFill>
              </a:rPr>
              <a:t>How can I Help?</a:t>
            </a:r>
          </a:p>
          <a:p>
            <a:pPr marL="0" indent="0">
              <a:buNone/>
            </a:pPr>
            <a:endParaRPr lang="en-US"/>
          </a:p>
          <a:p>
            <a:r>
              <a:rPr lang="en-US"/>
              <a:t>Notify Environmental When: </a:t>
            </a:r>
          </a:p>
          <a:p>
            <a:pPr marL="739775" lvl="1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B050"/>
                </a:solidFill>
                <a:latin typeface="+mn-lt"/>
              </a:rPr>
              <a:t>M</a:t>
            </a:r>
            <a:r>
              <a:rPr lang="en-US">
                <a:latin typeface="+mn-lt"/>
              </a:rPr>
              <a:t>oving an OFEE</a:t>
            </a:r>
          </a:p>
          <a:p>
            <a:pPr marL="739775" lvl="1">
              <a:buFont typeface="Arial" panose="020B0604020202020204" pitchFamily="34" charset="0"/>
              <a:buChar char="•"/>
            </a:pPr>
            <a:r>
              <a:rPr lang="en-US" sz="1600" i="0">
                <a:solidFill>
                  <a:srgbClr val="00B050"/>
                </a:solidFill>
                <a:effectLst/>
                <a:latin typeface="+mn-lt"/>
              </a:rPr>
              <a:t>P</a:t>
            </a:r>
            <a:r>
              <a:rPr lang="en-US" sz="1600" i="0">
                <a:effectLst/>
                <a:latin typeface="+mn-lt"/>
              </a:rPr>
              <a:t>lanning to purchase</a:t>
            </a:r>
          </a:p>
          <a:p>
            <a:pPr marL="739775" lvl="1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B050"/>
                </a:solidFill>
                <a:latin typeface="+mn-lt"/>
              </a:rPr>
              <a:t>D</a:t>
            </a:r>
            <a:r>
              <a:rPr lang="en-US" sz="1600" i="0">
                <a:effectLst/>
                <a:latin typeface="+mn-lt"/>
              </a:rPr>
              <a:t>ispose or relocate any OFEE</a:t>
            </a:r>
          </a:p>
          <a:p>
            <a:pPr marL="454025" indent="-342900"/>
            <a:r>
              <a:rPr lang="en-US">
                <a:latin typeface="+mn-lt"/>
              </a:rPr>
              <a:t>Fill out an Oil Fill Electrical form when moving</a:t>
            </a:r>
          </a:p>
          <a:p>
            <a:pPr marL="739775" lvl="1">
              <a:buFont typeface="Arial" panose="020B0604020202020204" pitchFamily="34" charset="0"/>
              <a:buChar char="•"/>
            </a:pPr>
            <a:r>
              <a:rPr lang="en-US">
                <a:latin typeface="+mn-lt"/>
              </a:rPr>
              <a:t>Transformers</a:t>
            </a:r>
          </a:p>
          <a:p>
            <a:pPr marL="739775" lvl="1">
              <a:buFont typeface="Arial" panose="020B0604020202020204" pitchFamily="34" charset="0"/>
              <a:buChar char="•"/>
            </a:pPr>
            <a:r>
              <a:rPr lang="en-US">
                <a:latin typeface="+mn-lt"/>
              </a:rPr>
              <a:t>Rectifiers</a:t>
            </a:r>
          </a:p>
          <a:p>
            <a:pPr marL="739775" lvl="1">
              <a:buFont typeface="Arial" panose="020B0604020202020204" pitchFamily="34" charset="0"/>
              <a:buChar char="•"/>
            </a:pPr>
            <a:r>
              <a:rPr lang="en-US">
                <a:latin typeface="+mn-lt"/>
              </a:rPr>
              <a:t>Oil filled Magnets </a:t>
            </a:r>
          </a:p>
          <a:p>
            <a:pPr lvl="1"/>
            <a:endParaRPr lang="en-US"/>
          </a:p>
          <a:p>
            <a:r>
              <a:rPr lang="en-US" sz="1800">
                <a:solidFill>
                  <a:srgbClr val="00B050"/>
                </a:solidFill>
              </a:rPr>
              <a:t>NOTE: </a:t>
            </a:r>
            <a:r>
              <a:rPr lang="en-US" sz="1800" spc="0">
                <a:solidFill>
                  <a:srgbClr val="00B050"/>
                </a:solidFill>
                <a:effectLst/>
                <a:latin typeface="Arial" panose="020B0604020202020204" pitchFamily="34" charset="0"/>
                <a:ea typeface="Symbol" panose="05050102010706020507" pitchFamily="18" charset="2"/>
                <a:cs typeface="Symbol" panose="05050102010706020507" pitchFamily="18" charset="2"/>
              </a:rPr>
              <a:t>Submit a Management of Change (MOC)/Electrical Equipment Form for any new oil-filled electrical equipment purchase.</a:t>
            </a: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5B49D7A-D892-628A-D1E9-FE644BEEE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/>
              <a:t>Oil-Filled Electrical Equipment &amp; PCB Management Plan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0CE72FD-BB4D-C440-CE90-B4F4E4B96C95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69651" y="1519519"/>
            <a:ext cx="3887788" cy="3684587"/>
          </a:xfrm>
        </p:spPr>
        <p:txBody>
          <a:bodyPr/>
          <a:lstStyle/>
          <a:p>
            <a:pPr marL="0" indent="0">
              <a:buClr>
                <a:srgbClr val="BA8747"/>
              </a:buClr>
              <a:buNone/>
            </a:pPr>
            <a:r>
              <a:rPr lang="en-US" b="1">
                <a:solidFill>
                  <a:schemeClr val="tx2"/>
                </a:solidFill>
              </a:rPr>
              <a:t>Company Goal</a:t>
            </a:r>
          </a:p>
          <a:p>
            <a:pPr marL="0" indent="0">
              <a:buClr>
                <a:srgbClr val="BA8747"/>
              </a:buClr>
              <a:buNone/>
            </a:pPr>
            <a:endParaRPr lang="en-US"/>
          </a:p>
          <a:p>
            <a:pPr>
              <a:buClr>
                <a:srgbClr val="BA8747"/>
              </a:buClr>
            </a:pPr>
            <a:r>
              <a:rPr lang="en-US"/>
              <a:t>PCB-Free (&lt;2 ppm)</a:t>
            </a:r>
          </a:p>
          <a:p>
            <a:pPr lvl="1">
              <a:buClr>
                <a:srgbClr val="BA8747"/>
              </a:buClr>
              <a:buFont typeface="Arial" panose="020B0604020202020204" pitchFamily="34" charset="0"/>
              <a:buChar char="•"/>
            </a:pPr>
            <a:r>
              <a:rPr lang="en-US"/>
              <a:t>No oil filled electrical equipment should be purchased or brought to a FCX facility if PCBs ≥ 2 ppm</a:t>
            </a:r>
          </a:p>
          <a:p>
            <a:r>
              <a:rPr lang="en-US"/>
              <a:t>How Do We Achieve These Objectiv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B050"/>
                </a:solidFill>
              </a:rPr>
              <a:t>M</a:t>
            </a:r>
            <a:r>
              <a:rPr lang="en-US" sz="1600"/>
              <a:t>aintaining an accurate inventory of electrical equipmen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B050"/>
                </a:solidFill>
              </a:rPr>
              <a:t>I</a:t>
            </a:r>
            <a:r>
              <a:rPr lang="en-US" sz="1600"/>
              <a:t>nspecting and managing equipment =&gt; 50 ppm PCB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B050"/>
                </a:solidFill>
              </a:rPr>
              <a:t>T</a:t>
            </a:r>
            <a:r>
              <a:rPr lang="en-US" sz="1600"/>
              <a:t>esting retro-filled equipment or equipment with unknown PCB status</a:t>
            </a:r>
          </a:p>
          <a:p>
            <a:pPr marL="285750" lvl="1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0911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6DB36-DC34-4F3B-8B50-AF2DAB5E98F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5400"/>
              <a:t>WATER</a:t>
            </a:r>
          </a:p>
        </p:txBody>
      </p:sp>
    </p:spTree>
    <p:extLst>
      <p:ext uri="{BB962C8B-B14F-4D97-AF65-F5344CB8AC3E}">
        <p14:creationId xmlns:p14="http://schemas.microsoft.com/office/powerpoint/2010/main" val="226872742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400"/>
              <a:t>Do you know where our water comes from?</a:t>
            </a:r>
          </a:p>
          <a:p>
            <a:pPr fontAlgn="base"/>
            <a:endParaRPr lang="en-US" sz="3400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ater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0F8ECA11-448C-4D1E-BEC5-E16BCC4011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8669" y="1964087"/>
            <a:ext cx="3726662" cy="489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8925218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E0FF17B-7F42-4601-A5DD-92DFC60ACE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9116" y="1950099"/>
            <a:ext cx="7903083" cy="807393"/>
          </a:xfrm>
        </p:spPr>
        <p:txBody>
          <a:bodyPr anchor="t">
            <a:normAutofit/>
          </a:bodyPr>
          <a:lstStyle/>
          <a:p>
            <a:r>
              <a:rPr lang="en-US"/>
              <a:t>We need your help!	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A778657-9970-4954-86EE-3D6B484A0A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19752" y="6577563"/>
            <a:ext cx="824248" cy="280436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5EB69C0-7537-C24C-BC67-8B5F238D9475}" type="slidenum">
              <a:rPr lang="en-US" smtClean="0"/>
              <a:pPr>
                <a:spcAft>
                  <a:spcPts val="600"/>
                </a:spcAft>
              </a:pPr>
              <a:t>35</a:t>
            </a:fld>
            <a:endParaRPr lang="en-US"/>
          </a:p>
        </p:txBody>
      </p:sp>
      <p:pic>
        <p:nvPicPr>
          <p:cNvPr id="8" name="Picture 7" descr="Water droplet and ripple">
            <a:extLst>
              <a:ext uri="{FF2B5EF4-FFF2-40B4-BE49-F238E27FC236}">
                <a16:creationId xmlns:a16="http://schemas.microsoft.com/office/drawing/2014/main" id="{DFAC42B0-E7DD-4F54-8836-2CAA924E3A5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34" r="-3" b="-3"/>
          <a:stretch/>
        </p:blipFill>
        <p:spPr>
          <a:xfrm>
            <a:off x="3700093" y="3006187"/>
            <a:ext cx="4722106" cy="3227322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3E3BCC-5485-4F12-8BBB-EA197F87F8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19117" y="3006187"/>
            <a:ext cx="3081930" cy="3227322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>
              <a:buNone/>
            </a:pPr>
            <a:r>
              <a:rPr lang="en-US" sz="1700"/>
              <a:t>We are always looking for ways to save water and make our processes more water efficient.</a:t>
            </a:r>
          </a:p>
          <a:p>
            <a:r>
              <a:rPr lang="en-US" sz="1700"/>
              <a:t>Imagine if we only had 4 billion gallons available instead of 6 billion gallons.</a:t>
            </a:r>
          </a:p>
          <a:p>
            <a:pPr marL="461645" lvl="1" indent="-236220"/>
            <a:r>
              <a:rPr lang="en-US" sz="1700">
                <a:solidFill>
                  <a:srgbClr val="934E15"/>
                </a:solidFill>
              </a:rPr>
              <a:t>Which processes would change?</a:t>
            </a:r>
          </a:p>
          <a:p>
            <a:pPr marL="461645" lvl="1" indent="-236220"/>
            <a:r>
              <a:rPr lang="en-US" sz="1700">
                <a:solidFill>
                  <a:srgbClr val="934E15"/>
                </a:solidFill>
              </a:rPr>
              <a:t>How much copper would we be able to produce?</a:t>
            </a:r>
          </a:p>
        </p:txBody>
      </p:sp>
    </p:spTree>
    <p:extLst>
      <p:ext uri="{BB962C8B-B14F-4D97-AF65-F5344CB8AC3E}">
        <p14:creationId xmlns:p14="http://schemas.microsoft.com/office/powerpoint/2010/main" val="345757717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4086225"/>
            <a:ext cx="3505200" cy="2628900"/>
          </a:xfrm>
          <a:prstGeom prst="rect">
            <a:avLst/>
          </a:prstGeom>
          <a:effectLst>
            <a:softEdge rad="317500"/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0" y="3810000"/>
            <a:ext cx="3666744" cy="2971800"/>
          </a:xfrm>
          <a:prstGeom prst="rect">
            <a:avLst/>
          </a:prstGeom>
          <a:effectLst>
            <a:softEdge rad="317500"/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1295400"/>
            <a:ext cx="3352800" cy="2514600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9128D5D-F547-44A8-BBBF-0C8885349E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4" name="Picture 2" descr="H:\Abms\Morcon3.TIF"/>
          <p:cNvPicPr>
            <a:picLocks noGrp="1" noChangeAspect="1" noChangeArrowheads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51234" y="1232817"/>
            <a:ext cx="3503983" cy="2797368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Water Use in Operations </a:t>
            </a:r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253196" y="5295900"/>
            <a:ext cx="219803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orenci Operations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New Water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2689968131"/>
              </p:ext>
            </p:extLst>
          </p:nvPr>
        </p:nvGraphicFramePr>
        <p:xfrm>
          <a:off x="1725938" y="1600200"/>
          <a:ext cx="5953125" cy="396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2617733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5EB69C0-7537-C24C-BC67-8B5F238D9475}" type="slidenum">
              <a:rPr lang="en-US" smtClean="0"/>
              <a:pPr>
                <a:spcAft>
                  <a:spcPts val="600"/>
                </a:spcAft>
              </a:pPr>
              <a:t>37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124825-50B4-4BBF-AF7E-CEA6C691B0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 fontAlgn="base">
              <a:buNone/>
            </a:pPr>
            <a:r>
              <a:rPr lang="en-US" sz="2400">
                <a:latin typeface="Arial"/>
                <a:cs typeface="Arial"/>
              </a:rPr>
              <a:t>CWA - Clean Water Act​</a:t>
            </a:r>
          </a:p>
          <a:p>
            <a:pPr marL="231775" marR="0" lvl="0" indent="-2317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F572A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sz="2400">
                <a:latin typeface="Arial"/>
                <a:cs typeface="Arial"/>
              </a:rPr>
              <a:t>Requires a permit for the discharge of a pollutant into​ waters of the US.​</a:t>
            </a:r>
          </a:p>
          <a:p>
            <a:pPr marL="0" indent="0" fontAlgn="base">
              <a:buNone/>
            </a:pPr>
            <a:r>
              <a:rPr lang="en-US" sz="2400">
                <a:latin typeface="Arial"/>
                <a:cs typeface="Arial"/>
              </a:rPr>
              <a:t>APP - Aquifer Protection Permit</a:t>
            </a:r>
          </a:p>
          <a:p>
            <a:pPr marL="231775" marR="0" lvl="0" indent="-2317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F572A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sz="2400">
                <a:solidFill>
                  <a:srgbClr val="000000"/>
                </a:solidFill>
                <a:latin typeface="Arial"/>
                <a:cs typeface="Arial"/>
              </a:rPr>
              <a:t>Requires permit for</a:t>
            </a:r>
            <a:r>
              <a:rPr lang="en-US" sz="2400">
                <a:latin typeface="Arial"/>
                <a:cs typeface="Arial"/>
              </a:rPr>
              <a:t> discharge of pollutants into groundwater.​</a:t>
            </a:r>
          </a:p>
          <a:p>
            <a:pPr marL="0" indent="0" fontAlgn="base">
              <a:buNone/>
            </a:pPr>
            <a:r>
              <a:rPr lang="en-US" sz="2400">
                <a:latin typeface="Arial"/>
                <a:cs typeface="Arial"/>
              </a:rPr>
              <a:t>AZPDES - Arizona Pollutant Discharge Elimination System​</a:t>
            </a:r>
          </a:p>
          <a:p>
            <a:pPr marL="231775" marR="0" lvl="0" indent="-2317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F572A"/>
              </a:buClr>
              <a:buSzPct val="105000"/>
              <a:buFont typeface="Arial" panose="020B0604020202020204" pitchFamily="34" charset="0"/>
              <a:buChar char="•"/>
              <a:tabLst/>
              <a:defRPr/>
            </a:pPr>
            <a:r>
              <a:rPr lang="en-US" sz="2400">
                <a:latin typeface="Arial"/>
                <a:cs typeface="Arial"/>
              </a:rPr>
              <a:t>Responsibility to administer the Stormwater program for the EPA</a:t>
            </a:r>
          </a:p>
          <a:p>
            <a:pPr fontAlgn="base"/>
            <a:endParaRPr lang="en-US" sz="2400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 sz="24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/>
              <a:t>Water Quality Regulations</a:t>
            </a:r>
          </a:p>
        </p:txBody>
      </p:sp>
      <p:pic>
        <p:nvPicPr>
          <p:cNvPr id="1026" name="Picture 2" descr="See the source image">
            <a:extLst>
              <a:ext uri="{FF2B5EF4-FFF2-40B4-BE49-F238E27FC236}">
                <a16:creationId xmlns:a16="http://schemas.microsoft.com/office/drawing/2014/main" id="{672FF775-C480-42D6-9301-B82FB7B8C6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31" b="15414"/>
          <a:stretch/>
        </p:blipFill>
        <p:spPr bwMode="auto">
          <a:xfrm>
            <a:off x="2764880" y="4924986"/>
            <a:ext cx="3490415" cy="182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182835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9116" y="1950099"/>
            <a:ext cx="7903083" cy="807393"/>
          </a:xfrm>
        </p:spPr>
        <p:txBody>
          <a:bodyPr anchor="t">
            <a:normAutofit/>
          </a:bodyPr>
          <a:lstStyle/>
          <a:p>
            <a:r>
              <a:rPr lang="en-US"/>
              <a:t>Water Quality Regulations - SWPPP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19752" y="6577563"/>
            <a:ext cx="824248" cy="280436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5EB69C0-7537-C24C-BC67-8B5F238D9475}" type="slidenum">
              <a:rPr lang="en-US" smtClean="0"/>
              <a:pPr>
                <a:spcAft>
                  <a:spcPts val="600"/>
                </a:spcAft>
              </a:pPr>
              <a:t>38</a:t>
            </a:fld>
            <a:endParaRPr lang="en-US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C69A0FA5-C34F-4808-B4E7-D4198D33AD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11102" y="3006187"/>
            <a:ext cx="3900087" cy="3227322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124825-50B4-4BBF-AF7E-CEA6C691B0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19117" y="3006187"/>
            <a:ext cx="3081930" cy="322732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100"/>
              <a:t>Morenci is “</a:t>
            </a:r>
            <a:r>
              <a:rPr lang="en-US" sz="1100" b="1" i="1" u="sng"/>
              <a:t>ZERO Discharge Facility</a:t>
            </a:r>
            <a:r>
              <a:rPr lang="en-US" sz="1100"/>
              <a:t>”​</a:t>
            </a:r>
          </a:p>
          <a:p>
            <a:pPr marL="0" indent="0" fontAlgn="base">
              <a:buNone/>
            </a:pPr>
            <a:endParaRPr lang="en-US" sz="1100"/>
          </a:p>
          <a:p>
            <a:pPr marL="0" indent="0" fontAlgn="base">
              <a:buNone/>
            </a:pPr>
            <a:r>
              <a:rPr lang="en-US" sz="1100"/>
              <a:t>All stormwater that contacts processing activities is not discharged from the property. It is reused.​</a:t>
            </a:r>
          </a:p>
          <a:p>
            <a:pPr fontAlgn="base"/>
            <a:endParaRPr lang="en-US" sz="1100"/>
          </a:p>
          <a:p>
            <a:pPr marL="0" indent="0" fontAlgn="base">
              <a:buNone/>
            </a:pPr>
            <a:r>
              <a:rPr lang="en-US" sz="1100"/>
              <a:t>Hydrologic Capture Area​s: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1100"/>
              <a:t>Gold Gulches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1100"/>
              <a:t>Bat Canyon​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1100"/>
              <a:t>Tailings Impoundment Canyons​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1100"/>
              <a:t>Central SX/EW Diversions​</a:t>
            </a:r>
          </a:p>
          <a:p>
            <a:pPr marL="342900" indent="-342900" fontAlgn="base">
              <a:buFont typeface="Arial" panose="020B0604020202020204" pitchFamily="34" charset="0"/>
              <a:buChar char="•"/>
            </a:pPr>
            <a:r>
              <a:rPr lang="en-US" sz="1100"/>
              <a:t>Rocky Gulch​</a:t>
            </a:r>
          </a:p>
          <a:p>
            <a:pPr fontAlgn="base"/>
            <a:endParaRPr lang="en-US" sz="1100"/>
          </a:p>
          <a:p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99991477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98971" y="6577563"/>
            <a:ext cx="1045029" cy="28043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5EB69C0-7537-C24C-BC67-8B5F238D9475}" type="slidenum">
              <a:rPr lang="en-US" smtClean="0"/>
              <a:pPr>
                <a:spcAft>
                  <a:spcPts val="600"/>
                </a:spcAft>
              </a:pPr>
              <a:t>39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DF61AF7-3FDF-4045-8757-634CDC9CAB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9365" y="1519519"/>
            <a:ext cx="4122242" cy="4464423"/>
          </a:xfrm>
        </p:spPr>
        <p:txBody>
          <a:bodyPr vert="horz" lIns="91440" tIns="45720" rIns="91440" bIns="45720" rtlCol="0">
            <a:normAutofit/>
          </a:bodyPr>
          <a:lstStyle/>
          <a:p>
            <a:pPr marL="0" indent="0" fontAlgn="base">
              <a:buNone/>
            </a:pPr>
            <a:r>
              <a:rPr lang="en-US" sz="1700"/>
              <a:t>Morenci is required to have a spill prevention and countermeasures (SPCC) plan because it stores high volumes of petroleum products on site.​</a:t>
            </a:r>
          </a:p>
          <a:p>
            <a:pPr marL="457200" indent="-457200" fontAlgn="base"/>
            <a:r>
              <a:rPr lang="en-US" sz="1700"/>
              <a:t>The SPCC plan protects “Waters of the U.S.” (rivers, washes, streams)​ from petroleum discharges​</a:t>
            </a:r>
          </a:p>
          <a:p>
            <a:pPr marL="457200" indent="-457200" fontAlgn="base"/>
            <a:r>
              <a:rPr lang="en-US" sz="1700"/>
              <a:t>The plan outlines requirements for spill prevention, preparedness, and response to petroleum discharges​</a:t>
            </a:r>
          </a:p>
          <a:p>
            <a:pPr marL="457200" indent="-457200" fontAlgn="base"/>
            <a:r>
              <a:rPr lang="en-US" sz="1700"/>
              <a:t>The plan details the equipment, workforce,​ and steps required to prevent, control and mitigate discharges of petroleum products.</a:t>
            </a:r>
          </a:p>
          <a:p>
            <a:endParaRPr lang="en-US" sz="17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365" y="365126"/>
            <a:ext cx="6499180" cy="675389"/>
          </a:xfrm>
        </p:spPr>
        <p:txBody>
          <a:bodyPr anchor="ctr">
            <a:normAutofit/>
          </a:bodyPr>
          <a:lstStyle/>
          <a:p>
            <a:r>
              <a:rPr lang="en-US"/>
              <a:t>Water Quality Regulations - SPCC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0747CB8E-2BF8-4EC2-B885-E9C10C2234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8" r="31338" b="1"/>
          <a:stretch/>
        </p:blipFill>
        <p:spPr bwMode="auto">
          <a:xfrm>
            <a:off x="4652107" y="1519519"/>
            <a:ext cx="4122242" cy="4464423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21997660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A6E147-6C0E-4AC8-B98C-3DB5B64A65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98971" y="6577563"/>
            <a:ext cx="1045029" cy="28043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5EB69C0-7537-C24C-BC67-8B5F238D9475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7D4F00C-B5A5-479F-93B9-7964BEF610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9652" y="1924121"/>
            <a:ext cx="4122242" cy="4464423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US" b="1" i="0"/>
              <a:t>Environmental Services supports Morenci Operations by:</a:t>
            </a:r>
            <a:endParaRPr lang="en-US" b="1"/>
          </a:p>
          <a:p>
            <a:pPr marL="342900" indent="-342900">
              <a:buChar char="•"/>
            </a:pPr>
            <a:r>
              <a:rPr lang="en-US" i="0"/>
              <a:t>Protecting and improving our environment</a:t>
            </a:r>
            <a:endParaRPr lang="en-US"/>
          </a:p>
          <a:p>
            <a:pPr marL="342900" indent="-342900">
              <a:buChar char="•"/>
            </a:pPr>
            <a:r>
              <a:rPr lang="en-US" i="0"/>
              <a:t>Assisting with environmental concerns</a:t>
            </a:r>
          </a:p>
          <a:p>
            <a:pPr marL="342900" indent="-342900">
              <a:buChar char="•"/>
            </a:pPr>
            <a:r>
              <a:rPr lang="en-US" i="0"/>
              <a:t>Ensuring compliance with environmental rules &amp; regulations</a:t>
            </a:r>
          </a:p>
          <a:p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71F6D83-C5D9-4ED9-8198-FB9C902E9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365" y="365126"/>
            <a:ext cx="6499180" cy="675389"/>
          </a:xfrm>
        </p:spPr>
        <p:txBody>
          <a:bodyPr anchor="ctr">
            <a:normAutofit/>
          </a:bodyPr>
          <a:lstStyle/>
          <a:p>
            <a:r>
              <a:rPr lang="en-US"/>
              <a:t>Our Ro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C85100D-8B89-B4B2-382C-B93A984636F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886" r="35566" b="1"/>
          <a:stretch/>
        </p:blipFill>
        <p:spPr>
          <a:xfrm>
            <a:off x="4652107" y="1519519"/>
            <a:ext cx="4122242" cy="446442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4791981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5EB69C0-7537-C24C-BC67-8B5F238D9475}" type="slidenum">
              <a:rPr lang="en-US" smtClean="0"/>
              <a:pPr>
                <a:spcAft>
                  <a:spcPts val="600"/>
                </a:spcAft>
              </a:pPr>
              <a:t>40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124825-50B4-4BBF-AF7E-CEA6C691B0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342900" indent="-342900" fontAlgn="base"/>
            <a:r>
              <a:rPr lang="en-US" sz="2400">
                <a:latin typeface="Arial"/>
                <a:cs typeface="Arial"/>
              </a:rPr>
              <a:t>Do not interact with wildlife of any kind.</a:t>
            </a:r>
            <a:endParaRPr lang="en-US" sz="2400"/>
          </a:p>
          <a:p>
            <a:pPr marL="342900" indent="-342900"/>
            <a:r>
              <a:rPr lang="en-US" sz="2400">
                <a:latin typeface="Arial"/>
                <a:cs typeface="Arial"/>
              </a:rPr>
              <a:t>Do not feed wildlife.</a:t>
            </a:r>
          </a:p>
          <a:p>
            <a:pPr marL="342900" indent="-342900"/>
            <a:r>
              <a:rPr lang="en-US" sz="2400">
                <a:latin typeface="Arial"/>
                <a:cs typeface="Arial"/>
              </a:rPr>
              <a:t>If you encounter wildlife in your area, call the spill hotline or Environmental.</a:t>
            </a:r>
          </a:p>
          <a:p>
            <a:pPr marL="342900" indent="-342900"/>
            <a:endParaRPr lang="en-US" sz="2400">
              <a:latin typeface="Arial"/>
              <a:cs typeface="Arial"/>
            </a:endParaRPr>
          </a:p>
          <a:p>
            <a:pPr marL="0" indent="0" fontAlgn="base">
              <a:buNone/>
            </a:pPr>
            <a:r>
              <a:rPr lang="en-US">
                <a:latin typeface="Arial"/>
                <a:cs typeface="Arial"/>
              </a:rPr>
              <a:t>                                                                           </a:t>
            </a:r>
            <a:endParaRPr lang="en-US" b="1"/>
          </a:p>
          <a:p>
            <a:pPr fontAlgn="base"/>
            <a:endParaRPr lang="en-US" sz="3400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/>
              <a:t>Wildlife Conserv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234CF12-5548-4953-90A0-3EEFD5D79A3E}"/>
              </a:ext>
            </a:extLst>
          </p:cNvPr>
          <p:cNvSpPr txBox="1"/>
          <p:nvPr/>
        </p:nvSpPr>
        <p:spPr>
          <a:xfrm>
            <a:off x="5837122" y="3580874"/>
            <a:ext cx="2784363" cy="184665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>
                <a:solidFill>
                  <a:srgbClr val="000000"/>
                </a:solidFill>
                <a:latin typeface="Segoe UI"/>
                <a:cs typeface="Segoe UI"/>
              </a:rPr>
              <a:t>Report all lingering, injured or deceased wildlife to​ the Spill Hotline</a:t>
            </a:r>
          </a:p>
          <a:p>
            <a:endParaRPr lang="en-US">
              <a:latin typeface="Segoe UI"/>
              <a:cs typeface="Segoe UI"/>
            </a:endParaRPr>
          </a:p>
          <a:p>
            <a:r>
              <a:rPr lang="en-US" sz="2400" b="1">
                <a:latin typeface="Segoe UI"/>
                <a:cs typeface="Segoe UI"/>
              </a:rPr>
              <a:t>928-865-SPIL</a:t>
            </a:r>
          </a:p>
        </p:txBody>
      </p:sp>
      <p:pic>
        <p:nvPicPr>
          <p:cNvPr id="5" name="Picture 4" descr="A collage of animals&#10;&#10;Description automatically generated">
            <a:extLst>
              <a:ext uri="{FF2B5EF4-FFF2-40B4-BE49-F238E27FC236}">
                <a16:creationId xmlns:a16="http://schemas.microsoft.com/office/drawing/2014/main" id="{1DEA4C9E-4FE3-EAA3-425D-E5993700D1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365" y="3181162"/>
            <a:ext cx="5097561" cy="3536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08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5EB69C0-7537-C24C-BC67-8B5F238D9475}" type="slidenum">
              <a:rPr lang="en-US" smtClean="0"/>
              <a:pPr>
                <a:spcAft>
                  <a:spcPts val="600"/>
                </a:spcAft>
              </a:pPr>
              <a:t>41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4124825-50B4-4BBF-AF7E-CEA6C691B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9365" y="1519519"/>
            <a:ext cx="4993286" cy="4464423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342900" indent="-342900" fontAlgn="base"/>
            <a:r>
              <a:rPr lang="en-US" sz="2400">
                <a:latin typeface="Arial"/>
                <a:cs typeface="Arial"/>
              </a:rPr>
              <a:t>Do not handle, disturb, or collect birds.</a:t>
            </a:r>
            <a:endParaRPr lang="en-US"/>
          </a:p>
          <a:p>
            <a:pPr marL="342900" indent="-342900"/>
            <a:r>
              <a:rPr lang="en-US" sz="2400">
                <a:latin typeface="Arial"/>
                <a:cs typeface="Arial"/>
              </a:rPr>
              <a:t>Immediately report all bird mortalities and injuries to the Spill hotline.​</a:t>
            </a:r>
            <a:endParaRPr lang="en-US">
              <a:latin typeface="Arial"/>
              <a:cs typeface="Arial"/>
            </a:endParaRPr>
          </a:p>
          <a:p>
            <a:pPr marL="342900" indent="-342900"/>
            <a:r>
              <a:rPr lang="en-US" sz="2400">
                <a:latin typeface="Arial"/>
                <a:cs typeface="Arial"/>
              </a:rPr>
              <a:t>Migratory birds seen on processing ponds should be reported to the spill hotline.</a:t>
            </a:r>
          </a:p>
          <a:p>
            <a:pPr marL="342900" indent="-342900"/>
            <a:r>
              <a:rPr lang="en-US" sz="2400">
                <a:latin typeface="Arial"/>
                <a:cs typeface="Arial"/>
              </a:rPr>
              <a:t>Pre-job workplace inspections should include locating nests in work areas.  </a:t>
            </a:r>
          </a:p>
          <a:p>
            <a:pPr marL="0" indent="0" fontAlgn="base">
              <a:buNone/>
            </a:pPr>
            <a:r>
              <a:rPr lang="en-US">
                <a:latin typeface="Arial"/>
                <a:cs typeface="Arial"/>
              </a:rPr>
              <a:t>                                                                     </a:t>
            </a:r>
            <a:endParaRPr lang="en-US" b="1"/>
          </a:p>
          <a:p>
            <a:pPr lvl="8" fontAlgn="base"/>
            <a:endParaRPr lang="en-US" sz="2000" b="1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>
                <a:latin typeface="Arial"/>
                <a:cs typeface="Arial"/>
              </a:rPr>
              <a:t>Wildlife Conservation - Birds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C6B6282-E3B9-B7AB-0507-B87FBF4673A2}"/>
              </a:ext>
            </a:extLst>
          </p:cNvPr>
          <p:cNvSpPr txBox="1"/>
          <p:nvPr/>
        </p:nvSpPr>
        <p:spPr>
          <a:xfrm>
            <a:off x="6343650" y="5894615"/>
            <a:ext cx="1812472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2000" b="1"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C065C14-99D6-C7A8-BF27-45562BB232C8}"/>
              </a:ext>
            </a:extLst>
          </p:cNvPr>
          <p:cNvSpPr txBox="1"/>
          <p:nvPr/>
        </p:nvSpPr>
        <p:spPr>
          <a:xfrm>
            <a:off x="5524500" y="5181600"/>
            <a:ext cx="3419475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/>
              <a:t>Do not disturb nests that have eggs in them.  928-865-SPIL</a:t>
            </a:r>
            <a:endParaRPr lang="en-US" sz="2400" b="1">
              <a:cs typeface="Arial"/>
            </a:endParaRPr>
          </a:p>
        </p:txBody>
      </p:sp>
      <p:pic>
        <p:nvPicPr>
          <p:cNvPr id="7" name="Picture 6" descr="An owl sitting in a box&#10;&#10;Description automatically generated">
            <a:extLst>
              <a:ext uri="{FF2B5EF4-FFF2-40B4-BE49-F238E27FC236}">
                <a16:creationId xmlns:a16="http://schemas.microsoft.com/office/drawing/2014/main" id="{9054036F-1B3F-2D2D-CD27-B5EE25726B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348" r="4792" b="8393"/>
          <a:stretch/>
        </p:blipFill>
        <p:spPr>
          <a:xfrm>
            <a:off x="5524500" y="1323975"/>
            <a:ext cx="3419476" cy="3657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07469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2083A2-F090-4F80-89B2-9C0F6FF3A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pPr defTabSz="685800">
              <a:spcAft>
                <a:spcPts val="450"/>
              </a:spcAft>
            </a:pPr>
            <a:fld id="{B5EB69C0-7537-C24C-BC67-8B5F238D9475}" type="slidenum">
              <a:rPr lang="en-US"/>
              <a:pPr defTabSz="685800">
                <a:spcAft>
                  <a:spcPts val="450"/>
                </a:spcAft>
              </a:pPr>
              <a:t>42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A88FBC-3A03-4935-BE36-C87A0E0F28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9365" y="1519519"/>
            <a:ext cx="4183733" cy="480036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275" b="1"/>
              <a:t>What is a cultural heritage site?</a:t>
            </a:r>
          </a:p>
          <a:p>
            <a:pPr marL="0" indent="0">
              <a:buNone/>
            </a:pPr>
            <a:r>
              <a:rPr lang="en-US" sz="1050"/>
              <a:t>A cultural heritage site is an area containing ancient artifacts giving evidence the area was once inhabited by native peoples.</a:t>
            </a:r>
          </a:p>
          <a:p>
            <a:pPr marL="0" indent="0">
              <a:buNone/>
            </a:pPr>
            <a:r>
              <a:rPr lang="en-US" sz="1275" b="1"/>
              <a:t>Why is Cultural Site Preservation Important?</a:t>
            </a:r>
          </a:p>
          <a:p>
            <a:pPr marL="0" indent="0">
              <a:buNone/>
            </a:pPr>
            <a:r>
              <a:rPr lang="en-US" sz="1050"/>
              <a:t>FMI and Morenci have partnered with local Native American tribes in a commitment to honor, protect, and preserve the rich Native American history and heritage that shaped Arizona and the Morenci mining region.</a:t>
            </a:r>
          </a:p>
          <a:p>
            <a:pPr marL="0" indent="0">
              <a:buNone/>
            </a:pPr>
            <a:r>
              <a:rPr lang="en-US" sz="1275" b="1"/>
              <a:t>What is your role/responsibility?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1050"/>
              <a:t>Submit a Management of Change (MOC) on all necessary projects to ensure Environmental review and prevention of cultural heritage site disturbance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1050"/>
              <a:t>When working or operating equipment in an undisturbed area, look out for artifacts e.g. projectile points, obsidian flakes, stone tools, etc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1050"/>
              <a:t>If you believe you’ve found a potential cultural heritage site, stop the job immediately and call the environmental office at 928-865-6000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1050"/>
              <a:t>Do not enter identified cultural sites or remove any Native American artifacts found on FMMI property.</a:t>
            </a:r>
          </a:p>
          <a:p>
            <a:pPr marL="0" indent="0">
              <a:buNone/>
            </a:pPr>
            <a:r>
              <a:rPr lang="en-US" sz="1125" b="1"/>
              <a:t>With questions regarding Cultural Heritage Sites, Please call Environmental at 928-865-6000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51AD51-9E96-4C05-8029-27C91EB5AC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/>
              <a:t>Morenci Cultural Heritage Sites</a:t>
            </a:r>
            <a:br>
              <a:rPr lang="en-US" sz="1650"/>
            </a:br>
            <a:endParaRPr lang="en-US" sz="1650"/>
          </a:p>
        </p:txBody>
      </p:sp>
      <p:pic>
        <p:nvPicPr>
          <p:cNvPr id="1026" name="Picture 4">
            <a:extLst>
              <a:ext uri="{FF2B5EF4-FFF2-40B4-BE49-F238E27FC236}">
                <a16:creationId xmlns:a16="http://schemas.microsoft.com/office/drawing/2014/main" id="{589A8201-79C0-37D3-17C3-622E4BF0CE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44" r="2" b="35888"/>
          <a:stretch/>
        </p:blipFill>
        <p:spPr bwMode="auto">
          <a:xfrm>
            <a:off x="4572000" y="2054473"/>
            <a:ext cx="4507614" cy="373045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366119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6204C3-AF7B-05FC-A3F9-5C313BAD31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7119" y="650914"/>
            <a:ext cx="3527427" cy="809625"/>
          </a:xfrm>
        </p:spPr>
        <p:txBody>
          <a:bodyPr/>
          <a:lstStyle/>
          <a:p>
            <a:r>
              <a:rPr lang="en-US"/>
              <a:t>For assistance, contact the Environmental Services Depart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0730BD-3C2C-F84C-4E3C-6456565AC9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33157" y="3572744"/>
            <a:ext cx="3481389" cy="657847"/>
          </a:xfrm>
        </p:spPr>
        <p:txBody>
          <a:bodyPr/>
          <a:lstStyle/>
          <a:p>
            <a:r>
              <a:rPr lang="en-US"/>
              <a:t>(928) 865-6000</a:t>
            </a:r>
          </a:p>
          <a:p>
            <a:r>
              <a:rPr lang="en-US"/>
              <a:t>Or your Department Environmental Representative</a:t>
            </a:r>
          </a:p>
        </p:txBody>
      </p:sp>
    </p:spTree>
    <p:extLst>
      <p:ext uri="{BB962C8B-B14F-4D97-AF65-F5344CB8AC3E}">
        <p14:creationId xmlns:p14="http://schemas.microsoft.com/office/powerpoint/2010/main" val="30522328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F84E96-52F1-452A-9D97-F7645934FF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98971" y="6577563"/>
            <a:ext cx="1045029" cy="280438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5EB69C0-7537-C24C-BC67-8B5F238D9475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BA1DA5-9DD9-45BE-8BCF-B1C683077F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9365" y="2028451"/>
            <a:ext cx="4122242" cy="4464423"/>
          </a:xfrm>
        </p:spPr>
        <p:txBody>
          <a:bodyPr vert="horz" lIns="91440" tIns="45720" rIns="91440" bIns="45720" rtlCol="0">
            <a:normAutofit/>
          </a:bodyPr>
          <a:lstStyle/>
          <a:p>
            <a:pPr marL="342900" indent="-342900" defTabSz="685800" fontAlgn="base">
              <a:spcBef>
                <a:spcPts val="1200"/>
              </a:spcBef>
              <a:buClrTx/>
              <a:buSzTx/>
              <a:buChar char="•"/>
              <a:defRPr/>
            </a:pPr>
            <a:r>
              <a:rPr lang="en-US" i="0"/>
              <a:t>Help Morenci comply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 with all environmental laws and regulations.</a:t>
            </a:r>
            <a:endParaRPr lang="en-US"/>
          </a:p>
          <a:p>
            <a:pPr marL="342900" marR="0" lvl="0" indent="-342900" defTabSz="685800" rtl="0" eaLnBrk="1" fontAlgn="base" latinLnBrk="0" hangingPunct="1"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</a:rPr>
              <a:t>It is important that you understand how your specific job may impact the environment.​</a:t>
            </a:r>
            <a:endParaRPr lang="en-US" b="0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9952AC-6475-41DF-AF62-A32D9EDEC7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365" y="365126"/>
            <a:ext cx="6499180" cy="675389"/>
          </a:xfrm>
        </p:spPr>
        <p:txBody>
          <a:bodyPr anchor="ctr">
            <a:normAutofit/>
          </a:bodyPr>
          <a:lstStyle/>
          <a:p>
            <a:r>
              <a:rPr lang="en-US"/>
              <a:t>Your role </a:t>
            </a:r>
          </a:p>
        </p:txBody>
      </p:sp>
      <p:pic>
        <p:nvPicPr>
          <p:cNvPr id="6" name="Picture 5" descr="A couple of men standing next to a sign&#10;&#10;Description automatically generated">
            <a:extLst>
              <a:ext uri="{FF2B5EF4-FFF2-40B4-BE49-F238E27FC236}">
                <a16:creationId xmlns:a16="http://schemas.microsoft.com/office/drawing/2014/main" id="{755CED33-3772-3601-F010-097A5805A9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615" r="12132" b="-3"/>
          <a:stretch/>
        </p:blipFill>
        <p:spPr>
          <a:xfrm>
            <a:off x="4652107" y="1519519"/>
            <a:ext cx="4122242" cy="446442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4990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6DB36-DC34-4F3B-8B50-AF2DAB5E98F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5400"/>
              <a:t>ISO 1400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DACC50-C616-7916-58FA-A0ADBFDB5BFE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/>
              <a:t>Environmental Management System (EMS)</a:t>
            </a:r>
          </a:p>
        </p:txBody>
      </p:sp>
    </p:spTree>
    <p:extLst>
      <p:ext uri="{BB962C8B-B14F-4D97-AF65-F5344CB8AC3E}">
        <p14:creationId xmlns:p14="http://schemas.microsoft.com/office/powerpoint/2010/main" val="19237903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4508" y="1196788"/>
            <a:ext cx="8434984" cy="4464423"/>
          </a:xfrm>
        </p:spPr>
        <p:txBody>
          <a:bodyPr>
            <a:normAutofit fontScale="62500" lnSpcReduction="20000"/>
          </a:bodyPr>
          <a:lstStyle/>
          <a:p>
            <a:pPr algn="ctr" defTabSz="685800" fontAlgn="base">
              <a:lnSpc>
                <a:spcPct val="90000"/>
              </a:lnSpc>
              <a:spcBef>
                <a:spcPts val="1200"/>
              </a:spcBef>
            </a:pPr>
            <a:endParaRPr lang="en-US" u="sng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685800" fontAlgn="base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800">
                <a:latin typeface="Arial" panose="020B0604020202020204" pitchFamily="34" charset="0"/>
                <a:cs typeface="Arial" panose="020B0604020202020204" pitchFamily="34" charset="0"/>
              </a:rPr>
              <a:t>International Standards specify requirements for an organization to  develop &amp; implement an Environmental Management System.​</a:t>
            </a:r>
          </a:p>
          <a:p>
            <a:pPr defTabSz="685800" fontAlgn="base">
              <a:lnSpc>
                <a:spcPct val="90000"/>
              </a:lnSpc>
              <a:spcBef>
                <a:spcPts val="1200"/>
              </a:spcBef>
            </a:pPr>
            <a:endParaRPr lang="en-US" sz="3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685800" fontAlgn="base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800">
                <a:latin typeface="Arial" panose="020B0604020202020204" pitchFamily="34" charset="0"/>
                <a:cs typeface="Arial" panose="020B0604020202020204" pitchFamily="34" charset="0"/>
              </a:rPr>
              <a:t>Management program includes all legal requirements, permits, policies, and industry practices.​​</a:t>
            </a:r>
          </a:p>
          <a:p>
            <a:pPr defTabSz="685800" fontAlgn="base">
              <a:lnSpc>
                <a:spcPct val="90000"/>
              </a:lnSpc>
              <a:spcBef>
                <a:spcPts val="1200"/>
              </a:spcBef>
            </a:pPr>
            <a:endParaRPr lang="en-US" sz="3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685800" fontAlgn="base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800">
                <a:latin typeface="Arial" panose="020B0604020202020204" pitchFamily="34" charset="0"/>
                <a:cs typeface="Arial" panose="020B0604020202020204" pitchFamily="34" charset="0"/>
              </a:rPr>
              <a:t>Program includes regular audits.</a:t>
            </a:r>
          </a:p>
          <a:p>
            <a:pPr marL="285750" indent="-285750" defTabSz="685800" fontAlgn="base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en-US" sz="3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685800" fontAlgn="base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800">
                <a:latin typeface="Arial" panose="020B0604020202020204" pitchFamily="34" charset="0"/>
                <a:cs typeface="Arial" panose="020B0604020202020204" pitchFamily="34" charset="0"/>
              </a:rPr>
              <a:t>The ISO 14001 program is used at all Freeport-McMoRan facilities.​</a:t>
            </a:r>
          </a:p>
          <a:p>
            <a:pPr marL="0" indent="0" algn="ctr" defTabSz="685800" fontAlgn="base">
              <a:lnSpc>
                <a:spcPct val="90000"/>
              </a:lnSpc>
              <a:spcBef>
                <a:spcPts val="1200"/>
              </a:spcBef>
              <a:buNone/>
            </a:pPr>
            <a:endParaRPr lang="en-US" sz="200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500"/>
              <a:t>ISO 14001 Environmental Management System</a:t>
            </a:r>
          </a:p>
        </p:txBody>
      </p:sp>
      <p:pic>
        <p:nvPicPr>
          <p:cNvPr id="17414" name="Picture 6" descr="Image result for iso 14001">
            <a:extLst>
              <a:ext uri="{FF2B5EF4-FFF2-40B4-BE49-F238E27FC236}">
                <a16:creationId xmlns:a16="http://schemas.microsoft.com/office/drawing/2014/main" id="{E8372EE6-C754-4367-8D43-6ED4CF6310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2516" y="5121580"/>
            <a:ext cx="1601523" cy="159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33989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600"/>
              <a:t>Environmental Risks are activities that can negatively impact the environment.​</a:t>
            </a:r>
          </a:p>
          <a:p>
            <a:pPr marL="0" indent="0">
              <a:buNone/>
            </a:pPr>
            <a:endParaRPr lang="en-US" sz="2600"/>
          </a:p>
          <a:p>
            <a:pPr marL="0" indent="0">
              <a:buNone/>
            </a:pPr>
            <a:r>
              <a:rPr lang="en-US" sz="2600"/>
              <a:t>​Examples:</a:t>
            </a:r>
          </a:p>
          <a:p>
            <a:r>
              <a:rPr lang="en-US" sz="2600"/>
              <a:t>​Dust</a:t>
            </a:r>
          </a:p>
          <a:p>
            <a:r>
              <a:rPr lang="en-US" sz="2600"/>
              <a:t>Spills</a:t>
            </a:r>
          </a:p>
          <a:p>
            <a:endParaRPr lang="en-US" sz="2600"/>
          </a:p>
          <a:p>
            <a:pPr marL="0" indent="0">
              <a:buNone/>
            </a:pPr>
            <a:r>
              <a:rPr lang="en-US" sz="2600"/>
              <a:t>Best Management Practices (BMPs) are developed to manage, reduce or eliminate environmental impacts.​</a:t>
            </a:r>
          </a:p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SO 14001 BMP’s</a:t>
            </a:r>
          </a:p>
        </p:txBody>
      </p:sp>
      <p:pic>
        <p:nvPicPr>
          <p:cNvPr id="19458" name="Picture 2" descr="Image result for Emergency Spill Kit">
            <a:extLst>
              <a:ext uri="{FF2B5EF4-FFF2-40B4-BE49-F238E27FC236}">
                <a16:creationId xmlns:a16="http://schemas.microsoft.com/office/drawing/2014/main" id="{C1F36491-F485-405C-802A-3E0DDD3854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9" r="6751"/>
          <a:stretch/>
        </p:blipFill>
        <p:spPr bwMode="auto">
          <a:xfrm>
            <a:off x="5674501" y="1975589"/>
            <a:ext cx="2554518" cy="2906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71838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9116" y="1950099"/>
            <a:ext cx="7903083" cy="807393"/>
          </a:xfrm>
        </p:spPr>
        <p:txBody>
          <a:bodyPr anchor="t">
            <a:normAutofit/>
          </a:bodyPr>
          <a:lstStyle/>
          <a:p>
            <a:r>
              <a:rPr lang="en-US"/>
              <a:t>Spill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19752" y="6577563"/>
            <a:ext cx="824248" cy="280436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B5EB69C0-7537-C24C-BC67-8B5F238D9475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  <p:pic>
        <p:nvPicPr>
          <p:cNvPr id="10" name="Picture 9" descr="A picture containing ground, outdoor, dirt, nature&#10;&#10;Description automatically generated">
            <a:extLst>
              <a:ext uri="{FF2B5EF4-FFF2-40B4-BE49-F238E27FC236}">
                <a16:creationId xmlns:a16="http://schemas.microsoft.com/office/drawing/2014/main" id="{579318B3-400C-4C82-BFD0-40352718203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-2" b="8871"/>
          <a:stretch/>
        </p:blipFill>
        <p:spPr>
          <a:xfrm>
            <a:off x="3700093" y="3006187"/>
            <a:ext cx="4722106" cy="3227322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19117" y="3006187"/>
            <a:ext cx="3081930" cy="3227322"/>
          </a:xfrm>
        </p:spPr>
        <p:txBody>
          <a:bodyPr>
            <a:normAutofit/>
          </a:bodyPr>
          <a:lstStyle/>
          <a:p>
            <a:pPr fontAlgn="base"/>
            <a:r>
              <a:rPr lang="en-US" sz="1700"/>
              <a:t>A spill is </a:t>
            </a:r>
            <a:r>
              <a:rPr lang="en-US" sz="1700" u="sng"/>
              <a:t>any</a:t>
            </a:r>
            <a:r>
              <a:rPr lang="en-US" sz="1700"/>
              <a:t> event, outside of normal operations, which results in a loss of products or waste material.​</a:t>
            </a:r>
          </a:p>
          <a:p>
            <a:pPr fontAlgn="base"/>
            <a:r>
              <a:rPr lang="en-US" sz="1700"/>
              <a:t>Spill Hotline phone number:</a:t>
            </a:r>
          </a:p>
          <a:p>
            <a:pPr fontAlgn="base"/>
            <a:r>
              <a:rPr lang="en-US" sz="1700" b="1"/>
              <a:t>(928) 865-7745 (SPIL)​</a:t>
            </a:r>
            <a:endParaRPr lang="en-US" sz="1700"/>
          </a:p>
          <a:p>
            <a:pPr fontAlgn="base"/>
            <a:r>
              <a:rPr lang="en-US" sz="1700"/>
              <a:t>Notify your supervisor of all spills.</a:t>
            </a:r>
          </a:p>
        </p:txBody>
      </p:sp>
    </p:spTree>
    <p:extLst>
      <p:ext uri="{BB962C8B-B14F-4D97-AF65-F5344CB8AC3E}">
        <p14:creationId xmlns:p14="http://schemas.microsoft.com/office/powerpoint/2010/main" val="3552869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2022_Electrifying the Future">
      <a:dk1>
        <a:srgbClr val="000000"/>
      </a:dk1>
      <a:lt1>
        <a:srgbClr val="FFFFFF"/>
      </a:lt1>
      <a:dk2>
        <a:srgbClr val="3F3F3F"/>
      </a:dk2>
      <a:lt2>
        <a:srgbClr val="FDF1DF"/>
      </a:lt2>
      <a:accent1>
        <a:srgbClr val="C14628"/>
      </a:accent1>
      <a:accent2>
        <a:srgbClr val="FF671C"/>
      </a:accent2>
      <a:accent3>
        <a:srgbClr val="F8991C"/>
      </a:accent3>
      <a:accent4>
        <a:srgbClr val="F28321"/>
      </a:accent4>
      <a:accent5>
        <a:srgbClr val="F8CF91"/>
      </a:accent5>
      <a:accent6>
        <a:srgbClr val="4C7093"/>
      </a:accent6>
      <a:hlink>
        <a:srgbClr val="00B0F0"/>
      </a:hlink>
      <a:folHlink>
        <a:srgbClr val="178E9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_fcx_ppt_template_1stQtr" id="{5B940B48-EDFF-41CC-9017-111D1055C0A9}" vid="{B2C22EEC-56A9-4C88-A563-B5CFE98B3AD8}"/>
    </a:ext>
  </a:extLst>
</a:theme>
</file>

<file path=ppt/theme/theme2.xml><?xml version="1.0" encoding="utf-8"?>
<a:theme xmlns:a="http://schemas.openxmlformats.org/drawingml/2006/main" name="1_Office Theme">
  <a:themeElements>
    <a:clrScheme name="2022_Electrifying the Future">
      <a:dk1>
        <a:srgbClr val="000000"/>
      </a:dk1>
      <a:lt1>
        <a:srgbClr val="FFFFFF"/>
      </a:lt1>
      <a:dk2>
        <a:srgbClr val="3F3F3F"/>
      </a:dk2>
      <a:lt2>
        <a:srgbClr val="FDF1DF"/>
      </a:lt2>
      <a:accent1>
        <a:srgbClr val="C14628"/>
      </a:accent1>
      <a:accent2>
        <a:srgbClr val="FF671C"/>
      </a:accent2>
      <a:accent3>
        <a:srgbClr val="F8991C"/>
      </a:accent3>
      <a:accent4>
        <a:srgbClr val="F28321"/>
      </a:accent4>
      <a:accent5>
        <a:srgbClr val="F8CF91"/>
      </a:accent5>
      <a:accent6>
        <a:srgbClr val="4C7093"/>
      </a:accent6>
      <a:hlink>
        <a:srgbClr val="00B0F0"/>
      </a:hlink>
      <a:folHlink>
        <a:srgbClr val="178E9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_fcx_ppt_template_1stQtr" id="{5B940B48-EDFF-41CC-9017-111D1055C0A9}" vid="{B2C22EEC-56A9-4C88-A563-B5CFE98B3AD8}"/>
    </a:ext>
  </a:extLst>
</a:theme>
</file>

<file path=ppt/theme/theme3.xml><?xml version="1.0" encoding="utf-8"?>
<a:theme xmlns:a="http://schemas.openxmlformats.org/drawingml/2006/main" name="1_Office Theme">
  <a:themeElements>
    <a:clrScheme name="THE VALUE OF COPPER 2024">
      <a:dk1>
        <a:srgbClr val="000000"/>
      </a:dk1>
      <a:lt1>
        <a:srgbClr val="FFFFFF"/>
      </a:lt1>
      <a:dk2>
        <a:srgbClr val="8D6E59"/>
      </a:dk2>
      <a:lt2>
        <a:srgbClr val="FDF1DF"/>
      </a:lt2>
      <a:accent1>
        <a:srgbClr val="D34727"/>
      </a:accent1>
      <a:accent2>
        <a:srgbClr val="E18332"/>
      </a:accent2>
      <a:accent3>
        <a:srgbClr val="FFC743"/>
      </a:accent3>
      <a:accent4>
        <a:srgbClr val="8F133C"/>
      </a:accent4>
      <a:accent5>
        <a:srgbClr val="88BA00"/>
      </a:accent5>
      <a:accent6>
        <a:srgbClr val="0088BA"/>
      </a:accent6>
      <a:hlink>
        <a:srgbClr val="27B3D3"/>
      </a:hlink>
      <a:folHlink>
        <a:srgbClr val="8D6E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_fcx_ppt_template_1stQtr" id="{5B940B48-EDFF-41CC-9017-111D1055C0A9}" vid="{B2C22EEC-56A9-4C88-A563-B5CFE98B3AD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AB3C5CD39AD947B53CDEF3D4CB3D7D" ma:contentTypeVersion="14" ma:contentTypeDescription="Create a new document." ma:contentTypeScope="" ma:versionID="df21fc8b2ac1075cbda08e824e13e1d5">
  <xsd:schema xmlns:xsd="http://www.w3.org/2001/XMLSchema" xmlns:xs="http://www.w3.org/2001/XMLSchema" xmlns:p="http://schemas.microsoft.com/office/2006/metadata/properties" xmlns:ns2="1e058937-4259-49e8-b517-12f63fbd63c8" xmlns:ns3="7bb3d774-70f9-4bb1-a361-5e158e6f06eb" targetNamespace="http://schemas.microsoft.com/office/2006/metadata/properties" ma:root="true" ma:fieldsID="2d9a565412289158c0e8e1130efc8033" ns2:_="" ns3:_="">
    <xsd:import namespace="1e058937-4259-49e8-b517-12f63fbd63c8"/>
    <xsd:import namespace="7bb3d774-70f9-4bb1-a361-5e158e6f06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058937-4259-49e8-b517-12f63fbd63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b3d774-70f9-4bb1-a361-5e158e6f06eb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bb3d774-70f9-4bb1-a361-5e158e6f06eb">
      <UserInfo>
        <DisplayName>Chismar, Ruth</DisplayName>
        <AccountId>19</AccountId>
        <AccountType/>
      </UserInfo>
      <UserInfo>
        <DisplayName>YULIASARI, FANNY</DisplayName>
        <AccountId>81</AccountId>
        <AccountType/>
      </UserInfo>
      <UserInfo>
        <DisplayName>Kellerby, Kimberly</DisplayName>
        <AccountId>54</AccountId>
        <AccountType/>
      </UserInfo>
      <UserInfo>
        <DisplayName>Sam Madan</DisplayName>
        <AccountId>30</AccountId>
        <AccountType/>
      </UserInfo>
      <UserInfo>
        <DisplayName>West, Christopher</DisplayName>
        <AccountId>16</AccountId>
        <AccountType/>
      </UserInfo>
      <UserInfo>
        <DisplayName>Robles, Salvador</DisplayName>
        <AccountId>18</AccountId>
        <AccountType/>
      </UserInfo>
      <UserInfo>
        <DisplayName>Walker, Robin</DisplayName>
        <AccountId>28</AccountId>
        <AccountType/>
      </UserInfo>
      <UserInfo>
        <DisplayName>Maldonado, Coreena</DisplayName>
        <AccountId>32</AccountId>
        <AccountType/>
      </UserInfo>
      <UserInfo>
        <DisplayName>Delgado, Vanessa</DisplayName>
        <AccountId>27</AccountId>
        <AccountType/>
      </UserInfo>
      <UserInfo>
        <DisplayName>Cano, Diana</DisplayName>
        <AccountId>17</AccountId>
        <AccountType/>
      </UserInfo>
      <UserInfo>
        <DisplayName>Gardea, Ben</DisplayName>
        <AccountId>97</AccountId>
        <AccountType/>
      </UserInfo>
      <UserInfo>
        <DisplayName>Veloz, Ana</DisplayName>
        <AccountId>73</AccountId>
        <AccountType/>
      </UserInfo>
      <UserInfo>
        <DisplayName>Provencio, Alejandro</DisplayName>
        <AccountId>99</AccountId>
        <AccountType/>
      </UserInfo>
      <UserInfo>
        <DisplayName>Strenke, Gerald</DisplayName>
        <AccountId>83</AccountId>
        <AccountType/>
      </UserInfo>
      <UserInfo>
        <DisplayName>Martinez, Genesis</DisplayName>
        <AccountId>102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5B0244F2-9DB2-4824-8D4A-2624F2573B2C}">
  <ds:schemaRefs>
    <ds:schemaRef ds:uri="1e058937-4259-49e8-b517-12f63fbd63c8"/>
    <ds:schemaRef ds:uri="7bb3d774-70f9-4bb1-a361-5e158e6f06e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5DDB5EE-50E5-4177-84E9-75942133BDF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41A2C67-BB5D-4A0F-91E6-0E79D039CF60}">
  <ds:schemaRefs>
    <ds:schemaRef ds:uri="http://schemas.microsoft.com/office/2006/metadata/properties"/>
    <ds:schemaRef ds:uri="http://purl.org/dc/elements/1.1/"/>
    <ds:schemaRef ds:uri="http://schemas.microsoft.com/office/2006/documentManagement/types"/>
    <ds:schemaRef ds:uri="1e058937-4259-49e8-b517-12f63fbd63c8"/>
    <ds:schemaRef ds:uri="http://schemas.microsoft.com/office/infopath/2007/PartnerControls"/>
    <ds:schemaRef ds:uri="http://schemas.openxmlformats.org/package/2006/metadata/core-properties"/>
    <ds:schemaRef ds:uri="7bb3d774-70f9-4bb1-a361-5e158e6f06eb"/>
    <ds:schemaRef ds:uri="http://purl.org/dc/dcmitype/"/>
    <ds:schemaRef ds:uri="http://www.w3.org/XML/1998/namespace"/>
    <ds:schemaRef ds:uri="http://purl.org/dc/terms/"/>
  </ds:schemaRefs>
</ds:datastoreItem>
</file>

<file path=docMetadata/LabelInfo.xml><?xml version="1.0" encoding="utf-8"?>
<clbl:labelList xmlns:clbl="http://schemas.microsoft.com/office/2020/mipLabelMetadata">
  <clbl:label id="{56f8a036-ae1b-4f85-92d3-f4203c03c43b}" enabled="1" method="Standard" siteId="{5f229ce1-773c-46ed-a6fa-974006fae09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30</Words>
  <Application>Microsoft Office PowerPoint</Application>
  <PresentationFormat>On-screen Show (4:3)</PresentationFormat>
  <Paragraphs>303</Paragraphs>
  <Slides>4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4" baseType="lpstr">
      <vt:lpstr>Arial</vt:lpstr>
      <vt:lpstr>Calibri</vt:lpstr>
      <vt:lpstr>Courier New</vt:lpstr>
      <vt:lpstr>D-DIN</vt:lpstr>
      <vt:lpstr>Segoe UI</vt:lpstr>
      <vt:lpstr>Tahoma</vt:lpstr>
      <vt:lpstr>Wingdings</vt:lpstr>
      <vt:lpstr>1_Office Theme</vt:lpstr>
      <vt:lpstr>1_Office Theme</vt:lpstr>
      <vt:lpstr>1_Office Theme</vt:lpstr>
      <vt:lpstr>think-cell Slide</vt:lpstr>
      <vt:lpstr>Morenci Environmental Services </vt:lpstr>
      <vt:lpstr>Table of Contents</vt:lpstr>
      <vt:lpstr>Where we are located…</vt:lpstr>
      <vt:lpstr>Our Role</vt:lpstr>
      <vt:lpstr>Your role </vt:lpstr>
      <vt:lpstr>ISO 14001</vt:lpstr>
      <vt:lpstr>ISO 14001 Environmental Management System</vt:lpstr>
      <vt:lpstr>ISO 14001 BMP’s</vt:lpstr>
      <vt:lpstr>Spills</vt:lpstr>
      <vt:lpstr>Policy Key Points</vt:lpstr>
      <vt:lpstr>2024 Environmental Objectives</vt:lpstr>
      <vt:lpstr>Chemical Inventory and SDSs</vt:lpstr>
      <vt:lpstr>Environmental Significant Risk (ESR)</vt:lpstr>
      <vt:lpstr>Environmental Significant Risks</vt:lpstr>
      <vt:lpstr>AIR</vt:lpstr>
      <vt:lpstr>Air Quality</vt:lpstr>
      <vt:lpstr>Air Quality</vt:lpstr>
      <vt:lpstr>Air Quality</vt:lpstr>
      <vt:lpstr>Air Quality</vt:lpstr>
      <vt:lpstr>Boiler Emissions  Notification</vt:lpstr>
      <vt:lpstr>Air Quality</vt:lpstr>
      <vt:lpstr>WASTE</vt:lpstr>
      <vt:lpstr>Waste Handling Regulations</vt:lpstr>
      <vt:lpstr>Waste Categories</vt:lpstr>
      <vt:lpstr>Waste Categories</vt:lpstr>
      <vt:lpstr>Waste Categories</vt:lpstr>
      <vt:lpstr>Waste Handling</vt:lpstr>
      <vt:lpstr>Pollution Prevention (P2) Plan</vt:lpstr>
      <vt:lpstr>Pollution Prevention (P2) Goals</vt:lpstr>
      <vt:lpstr>Pollution Prevention (P2) Goals</vt:lpstr>
      <vt:lpstr>PCB Management</vt:lpstr>
      <vt:lpstr>Oil-Filled Electrical Equipment &amp; PCB Management Plan</vt:lpstr>
      <vt:lpstr>WATER</vt:lpstr>
      <vt:lpstr>Water</vt:lpstr>
      <vt:lpstr>We need your help! </vt:lpstr>
      <vt:lpstr>Water Use in Operations </vt:lpstr>
      <vt:lpstr>Water Quality Regulations</vt:lpstr>
      <vt:lpstr>Water Quality Regulations - SWPPP</vt:lpstr>
      <vt:lpstr>Water Quality Regulations - SPCC</vt:lpstr>
      <vt:lpstr>Wildlife Conservation</vt:lpstr>
      <vt:lpstr>Wildlife Conservation - Birds</vt:lpstr>
      <vt:lpstr>Morenci Cultural Heritage Sites </vt:lpstr>
      <vt:lpstr>For assistance, contact the Environmental Services Depart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Text Line 1 Headline Text Line 2</dc:title>
  <dc:creator>Kelley, Kathy</dc:creator>
  <cp:lastModifiedBy>Diana</cp:lastModifiedBy>
  <cp:revision>24</cp:revision>
  <dcterms:created xsi:type="dcterms:W3CDTF">2022-01-20T21:24:06Z</dcterms:created>
  <dcterms:modified xsi:type="dcterms:W3CDTF">2024-08-19T12:48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AB3C5CD39AD947B53CDEF3D4CB3D7D</vt:lpwstr>
  </property>
  <property fmtid="{D5CDD505-2E9C-101B-9397-08002B2CF9AE}" pid="3" name="FM Doc Type">
    <vt:lpwstr>1;#Communication|ab0814dc-ad79-4add-a59b-e4976d8b9098</vt:lpwstr>
  </property>
  <property fmtid="{D5CDD505-2E9C-101B-9397-08002B2CF9AE}" pid="4" name="FM Retention Category">
    <vt:lpwstr>4;#Administration|5648ecb6-843d-42d8-8ec5-901cd2d614fb</vt:lpwstr>
  </property>
  <property fmtid="{D5CDD505-2E9C-101B-9397-08002B2CF9AE}" pid="5" name="FM Ent Taxonomy">
    <vt:lpwstr>7;#Internal|78012a07-bc17-42a8-9dfa-203d907fea28</vt:lpwstr>
  </property>
  <property fmtid="{D5CDD505-2E9C-101B-9397-08002B2CF9AE}" pid="6" name="MSIP_Label_56f8a036-ae1b-4f85-92d3-f4203c03c43b_Enabled">
    <vt:lpwstr>true</vt:lpwstr>
  </property>
  <property fmtid="{D5CDD505-2E9C-101B-9397-08002B2CF9AE}" pid="7" name="MSIP_Label_56f8a036-ae1b-4f85-92d3-f4203c03c43b_SetDate">
    <vt:lpwstr>2022-06-01T13:54:36Z</vt:lpwstr>
  </property>
  <property fmtid="{D5CDD505-2E9C-101B-9397-08002B2CF9AE}" pid="8" name="MSIP_Label_56f8a036-ae1b-4f85-92d3-f4203c03c43b_Method">
    <vt:lpwstr>Standard</vt:lpwstr>
  </property>
  <property fmtid="{D5CDD505-2E9C-101B-9397-08002B2CF9AE}" pid="9" name="MSIP_Label_56f8a036-ae1b-4f85-92d3-f4203c03c43b_Name">
    <vt:lpwstr>56f8a036-ae1b-4f85-92d3-f4203c03c43b</vt:lpwstr>
  </property>
  <property fmtid="{D5CDD505-2E9C-101B-9397-08002B2CF9AE}" pid="10" name="MSIP_Label_56f8a036-ae1b-4f85-92d3-f4203c03c43b_SiteId">
    <vt:lpwstr>5f229ce1-773c-46ed-a6fa-974006fae097</vt:lpwstr>
  </property>
  <property fmtid="{D5CDD505-2E9C-101B-9397-08002B2CF9AE}" pid="11" name="MSIP_Label_56f8a036-ae1b-4f85-92d3-f4203c03c43b_ActionId">
    <vt:lpwstr>16d8cf5c-6644-4c90-9bdf-a141860c5b36</vt:lpwstr>
  </property>
  <property fmtid="{D5CDD505-2E9C-101B-9397-08002B2CF9AE}" pid="12" name="MSIP_Label_56f8a036-ae1b-4f85-92d3-f4203c03c43b_ContentBits">
    <vt:lpwstr>0</vt:lpwstr>
  </property>
</Properties>
</file>